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</p:sldMasterIdLst>
  <p:notesMasterIdLst>
    <p:notesMasterId r:id="rId5"/>
  </p:notesMasterIdLst>
  <p:sldIdLst>
    <p:sldId id="293" r:id="rId3"/>
    <p:sldId id="289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CE1"/>
    <a:srgbClr val="2A8EBF"/>
    <a:srgbClr val="F2F2F2"/>
    <a:srgbClr val="1E4C8B"/>
    <a:srgbClr val="94C6DF"/>
    <a:srgbClr val="101010"/>
    <a:srgbClr val="237D27"/>
    <a:srgbClr val="355991"/>
    <a:srgbClr val="FFFFFF"/>
    <a:srgbClr val="093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38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5491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476022950479119E-2"/>
          <c:y val="0.14490513457104648"/>
          <c:w val="0.86236920782153115"/>
          <c:h val="0.6741730456422715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hange #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13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0D-45C7-90D2-17CEC1DA9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13803368"/>
        <c:axId val="819977184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arget</c:v>
                </c:pt>
              </c:strCache>
            </c:strRef>
          </c:tx>
          <c:dLbls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01</c:v>
                </c:pt>
                <c:pt idx="1">
                  <c:v>3.5000000000000003E-2</c:v>
                </c:pt>
                <c:pt idx="2">
                  <c:v>7.0000000000000007E-2</c:v>
                </c:pt>
                <c:pt idx="3">
                  <c:v>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F0D-45C7-90D2-17CEC1DA90B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tual</c:v>
                </c:pt>
              </c:strCache>
            </c:strRef>
          </c:tx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F0D-45C7-90D2-17CEC1DA90B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F0D-45C7-90D2-17CEC1DA90B5}"/>
                </c:ext>
              </c:extLst>
            </c:dLbl>
            <c:spPr>
              <a:solidFill>
                <a:schemeClr val="accent4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1.6E-2</c:v>
                </c:pt>
                <c:pt idx="1">
                  <c:v>1.96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F0D-45C7-90D2-17CEC1DA9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4560128"/>
        <c:axId val="254561664"/>
      </c:lineChart>
      <c:catAx>
        <c:axId val="2545601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zh-CN"/>
          </a:p>
        </c:txPr>
        <c:crossAx val="254561664"/>
        <c:crosses val="autoZero"/>
        <c:auto val="1"/>
        <c:lblAlgn val="ctr"/>
        <c:lblOffset val="100"/>
        <c:noMultiLvlLbl val="0"/>
      </c:catAx>
      <c:valAx>
        <c:axId val="25456166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crossAx val="254560128"/>
        <c:crosses val="autoZero"/>
        <c:crossBetween val="between"/>
      </c:valAx>
      <c:valAx>
        <c:axId val="81997718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713803368"/>
        <c:crosses val="max"/>
        <c:crossBetween val="between"/>
        <c:majorUnit val="5"/>
        <c:minorUnit val="1"/>
      </c:valAx>
      <c:catAx>
        <c:axId val="7138033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19977184"/>
        <c:crosses val="autoZero"/>
        <c:auto val="1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30897498773908777"/>
          <c:y val="0"/>
          <c:w val="0.59922766666893212"/>
          <c:h val="0.15374192234230671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200"/>
      </a:pPr>
      <a:endParaRPr lang="zh-CN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520547-FF2E-4EA0-B892-58D1A3F5FD94}" type="datetimeFigureOut">
              <a:rPr lang="en-US" smtClean="0"/>
              <a:t>6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A0D745-AAE5-49B0-B40A-A5A22011CF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356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3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922719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3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</p:spTree>
    <p:extLst>
      <p:ext uri="{BB962C8B-B14F-4D97-AF65-F5344CB8AC3E}">
        <p14:creationId xmlns:p14="http://schemas.microsoft.com/office/powerpoint/2010/main" val="34009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0186" y="1279525"/>
            <a:ext cx="5471583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343651" y="1279525"/>
            <a:ext cx="5342467" cy="45862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709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99991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0"/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851260" y="6196008"/>
            <a:ext cx="5241879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12"/>
          <p:cNvSpPr/>
          <p:nvPr userDrawn="1"/>
        </p:nvSpPr>
        <p:spPr>
          <a:xfrm>
            <a:off x="0" y="1086348"/>
            <a:ext cx="12192000" cy="119222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Line 30"/>
          <p:cNvSpPr>
            <a:spLocks noChangeShapeType="1"/>
          </p:cNvSpPr>
          <p:nvPr userDrawn="1"/>
        </p:nvSpPr>
        <p:spPr bwMode="gray">
          <a:xfrm>
            <a:off x="0" y="1066972"/>
            <a:ext cx="12192000" cy="0"/>
          </a:xfrm>
          <a:prstGeom prst="line">
            <a:avLst/>
          </a:prstGeom>
          <a:noFill/>
          <a:ln w="9525">
            <a:solidFill>
              <a:schemeClr val="accent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536" tIns="97536" rIns="97536" bIns="97536" anchor="ctr">
            <a:noAutofit/>
          </a:bodyPr>
          <a:lstStyle/>
          <a:p>
            <a:endParaRPr lang="en-US" sz="2400" dirty="0"/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11399000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1219024" rtl="0" eaLnBrk="1" latinLnBrk="0" hangingPunct="1">
              <a:defRPr sz="1067" kern="120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  <a:lvl2pPr marL="609513" algn="l" defTabSz="121902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024" algn="l" defTabSz="121902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538" algn="l" defTabSz="121902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051" algn="l" defTabSz="121902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562" algn="l" defTabSz="121902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075" algn="l" defTabSz="121902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588" algn="l" defTabSz="121902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101" algn="l" defTabSz="121902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fld id="{81BF0B4E-CE60-AB48-9D7E-4434414A7C38}" type="slidenum">
              <a:rPr lang="en-US" sz="1333" kern="0" smtClean="0">
                <a:solidFill>
                  <a:schemeClr val="bg1"/>
                </a:solidFill>
              </a:rPr>
              <a:pPr defTabSz="1219170">
                <a:defRPr/>
              </a:pPr>
              <a:t>‹#›</a:t>
            </a:fld>
            <a:endParaRPr lang="en-US" sz="1333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008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9000" y="6365828"/>
            <a:ext cx="600437" cy="365125"/>
          </a:xfrm>
          <a:prstGeom prst="rect">
            <a:avLst/>
          </a:prstGeom>
        </p:spPr>
        <p:txBody>
          <a:bodyPr vert="horz" lIns="91274" tIns="45718" rIns="91274" bIns="45718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5" y="1229456"/>
            <a:ext cx="10990476" cy="4525963"/>
          </a:xfrm>
          <a:prstGeom prst="rect">
            <a:avLst/>
          </a:prstGeom>
        </p:spPr>
        <p:txBody>
          <a:bodyPr vert="horz" lIns="91274" tIns="45718" rIns="91274" bIns="4571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05349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9000" y="6365828"/>
            <a:ext cx="600437" cy="365125"/>
          </a:xfrm>
          <a:prstGeom prst="rect">
            <a:avLst/>
          </a:prstGeom>
        </p:spPr>
        <p:txBody>
          <a:bodyPr vert="horz" lIns="91274" tIns="45718" rIns="91274" bIns="45718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5" y="1229456"/>
            <a:ext cx="10990476" cy="4525963"/>
          </a:xfrm>
          <a:prstGeom prst="rect">
            <a:avLst/>
          </a:prstGeom>
        </p:spPr>
        <p:txBody>
          <a:bodyPr vert="horz" lIns="91274" tIns="45718" rIns="91274" bIns="45718" rtlCol="0">
            <a:normAutofit/>
          </a:bodyPr>
          <a:lstStyle>
            <a:lvl1pPr marL="0" indent="0">
              <a:buNone/>
              <a:defRPr/>
            </a:lvl1pPr>
            <a:lvl2pPr marL="608243" indent="0">
              <a:buNone/>
              <a:defRPr/>
            </a:lvl2pPr>
            <a:lvl3pPr marL="1216650" indent="0">
              <a:buNone/>
              <a:defRPr/>
            </a:lvl3pPr>
            <a:lvl4pPr marL="1824946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</p:spTree>
    <p:extLst>
      <p:ext uri="{BB962C8B-B14F-4D97-AF65-F5344CB8AC3E}">
        <p14:creationId xmlns:p14="http://schemas.microsoft.com/office/powerpoint/2010/main" val="1297648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0188" y="1279525"/>
            <a:ext cx="5471583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343653" y="1279525"/>
            <a:ext cx="5342467" cy="45862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225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39781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9700" y="151637"/>
            <a:ext cx="10990479" cy="991363"/>
          </a:xfrm>
          <a:prstGeom prst="rect">
            <a:avLst/>
          </a:prstGeom>
        </p:spPr>
        <p:txBody>
          <a:bodyPr lIns="91274" tIns="45718" rIns="91274" bIns="45718">
            <a:normAutofit/>
          </a:bodyPr>
          <a:lstStyle>
            <a:lvl1pPr>
              <a:defRPr sz="44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8" y="6492876"/>
            <a:ext cx="5241879" cy="365125"/>
          </a:xfrm>
          <a:prstGeom prst="rect">
            <a:avLst/>
          </a:prstGeom>
        </p:spPr>
        <p:txBody>
          <a:bodyPr lIns="68469" tIns="34290" rIns="68469" bIns="34290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300349" y="6578221"/>
            <a:ext cx="694899" cy="279779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</a:lstStyle>
          <a:p>
            <a:fld id="{2D0A6E06-DA15-4ACC-9EC7-D4C6726FC2A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7969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Mar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7"/>
          <p:cNvSpPr/>
          <p:nvPr userDrawn="1"/>
        </p:nvSpPr>
        <p:spPr>
          <a:xfrm>
            <a:off x="101600" y="137160"/>
            <a:ext cx="11988800" cy="118872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80" dirty="0">
              <a:latin typeface="Calibri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01600" y="137160"/>
            <a:ext cx="11988800" cy="731520"/>
          </a:xfrm>
          <a:ln>
            <a:noFill/>
          </a:ln>
        </p:spPr>
        <p:txBody>
          <a:bodyPr>
            <a:normAutofit/>
          </a:bodyPr>
          <a:lstStyle>
            <a:lvl1pPr algn="l">
              <a:defRPr sz="336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101600" y="868680"/>
            <a:ext cx="11988800" cy="457200"/>
          </a:xfrm>
        </p:spPr>
        <p:txBody>
          <a:bodyPr tIns="0" anchor="ctr">
            <a:noAutofit/>
          </a:bodyPr>
          <a:lstStyle>
            <a:lvl1pPr marL="0" indent="0">
              <a:spcBef>
                <a:spcPts val="0"/>
              </a:spcBef>
              <a:buNone/>
              <a:defRPr sz="2160"/>
            </a:lvl1pPr>
            <a:lvl2pPr marL="274320" indent="0">
              <a:buNone/>
              <a:defRPr sz="2160"/>
            </a:lvl2pPr>
            <a:lvl3pPr marL="548640" indent="0">
              <a:buNone/>
              <a:defRPr sz="2160"/>
            </a:lvl3pPr>
            <a:lvl4pPr marL="822960" indent="0">
              <a:buNone/>
              <a:defRPr sz="2160"/>
            </a:lvl4pPr>
            <a:lvl5pPr marL="1097280" indent="0">
              <a:buNone/>
              <a:defRPr sz="216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75200" y="635508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latin typeface="Calibri"/>
              </a:rPr>
              <a:t>Page </a:t>
            </a:r>
            <a:fld id="{E06DD292-4E6D-EB47-94C3-B08229AAC4B1}" type="slidenum">
              <a:rPr lang="en-US" smtClean="0">
                <a:latin typeface="Calibri"/>
              </a:rPr>
              <a:pPr/>
              <a:t>‹#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4034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7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47023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74" b="95123"/>
          <a:stretch/>
        </p:blipFill>
        <p:spPr>
          <a:xfrm>
            <a:off x="0" y="6090384"/>
            <a:ext cx="12192000" cy="777093"/>
          </a:xfrm>
          <a:prstGeom prst="rect">
            <a:avLst/>
          </a:prstGeom>
        </p:spPr>
      </p:pic>
      <p:pic>
        <p:nvPicPr>
          <p:cNvPr id="8" name="Picture 7" descr="Janssen Horizontal White-01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4767" y="6078228"/>
            <a:ext cx="3310872" cy="80872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690" y="151637"/>
            <a:ext cx="10990479" cy="9913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693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03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2400" b="1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Wingdings" charset="2"/>
        <a:buChar char="§"/>
        <a:defRPr sz="2000" kern="1200">
          <a:solidFill>
            <a:schemeClr val="tx1"/>
          </a:solidFill>
          <a:latin typeface="Verdana"/>
          <a:ea typeface="+mn-ea"/>
          <a:cs typeface="Verdana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Verdana"/>
          <a:ea typeface="+mn-ea"/>
          <a:cs typeface="Verdana"/>
        </a:defRPr>
      </a:lvl2pPr>
      <a:lvl3pPr marL="1523962" indent="-304792" algn="l" defTabSz="609585" rtl="0" eaLnBrk="1" latinLnBrk="0" hangingPunct="1">
        <a:spcBef>
          <a:spcPct val="20000"/>
        </a:spcBef>
        <a:buFont typeface="Wingdings" charset="2"/>
        <a:buChar char="§"/>
        <a:defRPr sz="2000" kern="1200">
          <a:solidFill>
            <a:schemeClr val="tx1"/>
          </a:solidFill>
          <a:latin typeface="Verdana"/>
          <a:ea typeface="+mn-ea"/>
          <a:cs typeface="Verdana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Verdana"/>
          <a:ea typeface="+mn-ea"/>
          <a:cs typeface="Verdana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Verdana"/>
          <a:ea typeface="+mn-ea"/>
          <a:cs typeface="Verdana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41603114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74" b="95123"/>
          <a:stretch/>
        </p:blipFill>
        <p:spPr>
          <a:xfrm>
            <a:off x="0" y="6090384"/>
            <a:ext cx="12192000" cy="777093"/>
          </a:xfrm>
          <a:prstGeom prst="rect">
            <a:avLst/>
          </a:prstGeom>
        </p:spPr>
      </p:pic>
      <p:pic>
        <p:nvPicPr>
          <p:cNvPr id="8" name="Picture 7" descr="Janssen Horizontal White-01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4767" y="6078340"/>
            <a:ext cx="3310872" cy="80872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700" y="151637"/>
            <a:ext cx="10990479" cy="991363"/>
          </a:xfrm>
          <a:prstGeom prst="rect">
            <a:avLst/>
          </a:prstGeom>
        </p:spPr>
        <p:txBody>
          <a:bodyPr vert="horz" lIns="91274" tIns="45718" rIns="91274" bIns="45718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695" y="1229456"/>
            <a:ext cx="10990476" cy="4525963"/>
          </a:xfrm>
          <a:prstGeom prst="rect">
            <a:avLst/>
          </a:prstGeom>
        </p:spPr>
        <p:txBody>
          <a:bodyPr vert="horz" lIns="91274" tIns="45718" rIns="91274" bIns="4571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9000" y="6365828"/>
            <a:ext cx="600437" cy="365125"/>
          </a:xfrm>
          <a:prstGeom prst="rect">
            <a:avLst/>
          </a:prstGeom>
        </p:spPr>
        <p:txBody>
          <a:bodyPr vert="horz" lIns="91274" tIns="45718" rIns="91274" bIns="45718" rtlCol="0" anchor="ctr"/>
          <a:lstStyle>
            <a:lvl1pPr algn="r">
              <a:defRPr sz="12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766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608243" rtl="0" eaLnBrk="1" latinLnBrk="0" hangingPunct="1">
        <a:spcBef>
          <a:spcPct val="0"/>
        </a:spcBef>
        <a:buNone/>
        <a:defRPr sz="3300" b="1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456183" indent="-456183" algn="l" defTabSz="608243" rtl="0" eaLnBrk="1" latinLnBrk="0" hangingPunct="1">
        <a:spcBef>
          <a:spcPct val="20000"/>
        </a:spcBef>
        <a:buFont typeface="Wingdings" charset="2"/>
        <a:buChar char="§"/>
        <a:defRPr sz="2700" kern="1200">
          <a:solidFill>
            <a:schemeClr val="tx1"/>
          </a:solidFill>
          <a:latin typeface="Verdana"/>
          <a:ea typeface="+mn-ea"/>
          <a:cs typeface="Verdana"/>
        </a:defRPr>
      </a:lvl1pPr>
      <a:lvl2pPr marL="988558" indent="-380206" algn="l" defTabSz="608243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Verdana"/>
          <a:ea typeface="+mn-ea"/>
          <a:cs typeface="Verdana"/>
        </a:defRPr>
      </a:lvl2pPr>
      <a:lvl3pPr marL="1520771" indent="-304120" algn="l" defTabSz="608243" rtl="0" eaLnBrk="1" latinLnBrk="0" hangingPunct="1">
        <a:spcBef>
          <a:spcPct val="20000"/>
        </a:spcBef>
        <a:buFont typeface="Wingdings" charset="2"/>
        <a:buChar char="§"/>
        <a:defRPr sz="1600" kern="1200">
          <a:solidFill>
            <a:schemeClr val="tx1"/>
          </a:solidFill>
          <a:latin typeface="Verdana"/>
          <a:ea typeface="+mn-ea"/>
          <a:cs typeface="Verdana"/>
        </a:defRPr>
      </a:lvl3pPr>
      <a:lvl4pPr marL="2129067" indent="-304120" algn="l" defTabSz="608243" rtl="0" eaLnBrk="1" latinLnBrk="0" hangingPunct="1">
        <a:spcBef>
          <a:spcPct val="20000"/>
        </a:spcBef>
        <a:buFont typeface="Arial"/>
        <a:buChar char="–"/>
        <a:defRPr sz="1300" kern="1200">
          <a:solidFill>
            <a:schemeClr val="tx1"/>
          </a:solidFill>
          <a:latin typeface="Verdana"/>
          <a:ea typeface="+mn-ea"/>
          <a:cs typeface="Verdana"/>
        </a:defRPr>
      </a:lvl4pPr>
      <a:lvl5pPr marL="2737418" indent="-304120" algn="l" defTabSz="608243" rtl="0" eaLnBrk="1" latinLnBrk="0" hangingPunct="1">
        <a:spcBef>
          <a:spcPct val="20000"/>
        </a:spcBef>
        <a:buFont typeface="Arial"/>
        <a:buChar char="»"/>
        <a:defRPr sz="2700" kern="1200">
          <a:solidFill>
            <a:schemeClr val="tx1"/>
          </a:solidFill>
          <a:latin typeface="Verdana"/>
          <a:ea typeface="+mn-ea"/>
          <a:cs typeface="Verdana"/>
        </a:defRPr>
      </a:lvl5pPr>
      <a:lvl6pPr marL="3345660" indent="-304120" algn="l" defTabSz="60824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4013" indent="-304120" algn="l" defTabSz="60824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2311" indent="-304120" algn="l" defTabSz="60824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0607" indent="-304120" algn="l" defTabSz="60824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243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650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946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3298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1540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49783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8144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6468" algn="l" defTabSz="6082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33.xml"/><Relationship Id="rId21" Type="http://schemas.openxmlformats.org/officeDocument/2006/relationships/tags" Target="../tags/tag28.xml"/><Relationship Id="rId42" Type="http://schemas.openxmlformats.org/officeDocument/2006/relationships/tags" Target="../tags/tag49.xml"/><Relationship Id="rId47" Type="http://schemas.openxmlformats.org/officeDocument/2006/relationships/tags" Target="../tags/tag54.xml"/><Relationship Id="rId63" Type="http://schemas.openxmlformats.org/officeDocument/2006/relationships/tags" Target="../tags/tag70.xml"/><Relationship Id="rId68" Type="http://schemas.openxmlformats.org/officeDocument/2006/relationships/tags" Target="../tags/tag75.xml"/><Relationship Id="rId84" Type="http://schemas.openxmlformats.org/officeDocument/2006/relationships/tags" Target="../tags/tag91.xml"/><Relationship Id="rId89" Type="http://schemas.openxmlformats.org/officeDocument/2006/relationships/tags" Target="../tags/tag96.xml"/><Relationship Id="rId7" Type="http://schemas.openxmlformats.org/officeDocument/2006/relationships/tags" Target="../tags/tag14.xml"/><Relationship Id="rId71" Type="http://schemas.openxmlformats.org/officeDocument/2006/relationships/tags" Target="../tags/tag78.xml"/><Relationship Id="rId92" Type="http://schemas.openxmlformats.org/officeDocument/2006/relationships/tags" Target="../tags/tag99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9" Type="http://schemas.openxmlformats.org/officeDocument/2006/relationships/tags" Target="../tags/tag36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tags" Target="../tags/tag47.xml"/><Relationship Id="rId45" Type="http://schemas.openxmlformats.org/officeDocument/2006/relationships/tags" Target="../tags/tag52.xml"/><Relationship Id="rId53" Type="http://schemas.openxmlformats.org/officeDocument/2006/relationships/tags" Target="../tags/tag60.xml"/><Relationship Id="rId58" Type="http://schemas.openxmlformats.org/officeDocument/2006/relationships/tags" Target="../tags/tag65.xml"/><Relationship Id="rId66" Type="http://schemas.openxmlformats.org/officeDocument/2006/relationships/tags" Target="../tags/tag73.xml"/><Relationship Id="rId74" Type="http://schemas.openxmlformats.org/officeDocument/2006/relationships/tags" Target="../tags/tag81.xml"/><Relationship Id="rId79" Type="http://schemas.openxmlformats.org/officeDocument/2006/relationships/tags" Target="../tags/tag86.xml"/><Relationship Id="rId87" Type="http://schemas.openxmlformats.org/officeDocument/2006/relationships/tags" Target="../tags/tag94.xml"/><Relationship Id="rId102" Type="http://schemas.openxmlformats.org/officeDocument/2006/relationships/image" Target="../media/image5.emf"/><Relationship Id="rId5" Type="http://schemas.openxmlformats.org/officeDocument/2006/relationships/tags" Target="../tags/tag12.xml"/><Relationship Id="rId61" Type="http://schemas.openxmlformats.org/officeDocument/2006/relationships/tags" Target="../tags/tag68.xml"/><Relationship Id="rId82" Type="http://schemas.openxmlformats.org/officeDocument/2006/relationships/tags" Target="../tags/tag89.xml"/><Relationship Id="rId90" Type="http://schemas.openxmlformats.org/officeDocument/2006/relationships/tags" Target="../tags/tag97.xml"/><Relationship Id="rId95" Type="http://schemas.openxmlformats.org/officeDocument/2006/relationships/tags" Target="../tags/tag102.xml"/><Relationship Id="rId19" Type="http://schemas.openxmlformats.org/officeDocument/2006/relationships/tags" Target="../tags/tag2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tags" Target="../tags/tag50.xml"/><Relationship Id="rId48" Type="http://schemas.openxmlformats.org/officeDocument/2006/relationships/tags" Target="../tags/tag55.xml"/><Relationship Id="rId56" Type="http://schemas.openxmlformats.org/officeDocument/2006/relationships/tags" Target="../tags/tag63.xml"/><Relationship Id="rId64" Type="http://schemas.openxmlformats.org/officeDocument/2006/relationships/tags" Target="../tags/tag71.xml"/><Relationship Id="rId69" Type="http://schemas.openxmlformats.org/officeDocument/2006/relationships/tags" Target="../tags/tag76.xml"/><Relationship Id="rId77" Type="http://schemas.openxmlformats.org/officeDocument/2006/relationships/tags" Target="../tags/tag84.xml"/><Relationship Id="rId100" Type="http://schemas.openxmlformats.org/officeDocument/2006/relationships/image" Target="../media/image1.emf"/><Relationship Id="rId105" Type="http://schemas.openxmlformats.org/officeDocument/2006/relationships/image" Target="../media/image7.emf"/><Relationship Id="rId8" Type="http://schemas.openxmlformats.org/officeDocument/2006/relationships/tags" Target="../tags/tag15.xml"/><Relationship Id="rId51" Type="http://schemas.openxmlformats.org/officeDocument/2006/relationships/tags" Target="../tags/tag58.xml"/><Relationship Id="rId72" Type="http://schemas.openxmlformats.org/officeDocument/2006/relationships/tags" Target="../tags/tag79.xml"/><Relationship Id="rId80" Type="http://schemas.openxmlformats.org/officeDocument/2006/relationships/tags" Target="../tags/tag87.xml"/><Relationship Id="rId85" Type="http://schemas.openxmlformats.org/officeDocument/2006/relationships/tags" Target="../tags/tag92.xml"/><Relationship Id="rId93" Type="http://schemas.openxmlformats.org/officeDocument/2006/relationships/tags" Target="../tags/tag100.xml"/><Relationship Id="rId98" Type="http://schemas.openxmlformats.org/officeDocument/2006/relationships/slideLayout" Target="../slideLayouts/slideLayout8.xml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tags" Target="../tags/tag53.xml"/><Relationship Id="rId59" Type="http://schemas.openxmlformats.org/officeDocument/2006/relationships/tags" Target="../tags/tag66.xml"/><Relationship Id="rId67" Type="http://schemas.openxmlformats.org/officeDocument/2006/relationships/tags" Target="../tags/tag74.xml"/><Relationship Id="rId103" Type="http://schemas.openxmlformats.org/officeDocument/2006/relationships/oleObject" Target="../embeddings/oleObject10.bin"/><Relationship Id="rId20" Type="http://schemas.openxmlformats.org/officeDocument/2006/relationships/tags" Target="../tags/tag27.xml"/><Relationship Id="rId41" Type="http://schemas.openxmlformats.org/officeDocument/2006/relationships/tags" Target="../tags/tag48.xml"/><Relationship Id="rId54" Type="http://schemas.openxmlformats.org/officeDocument/2006/relationships/tags" Target="../tags/tag61.xml"/><Relationship Id="rId62" Type="http://schemas.openxmlformats.org/officeDocument/2006/relationships/tags" Target="../tags/tag69.xml"/><Relationship Id="rId70" Type="http://schemas.openxmlformats.org/officeDocument/2006/relationships/tags" Target="../tags/tag77.xml"/><Relationship Id="rId75" Type="http://schemas.openxmlformats.org/officeDocument/2006/relationships/tags" Target="../tags/tag82.xml"/><Relationship Id="rId83" Type="http://schemas.openxmlformats.org/officeDocument/2006/relationships/tags" Target="../tags/tag90.xml"/><Relationship Id="rId88" Type="http://schemas.openxmlformats.org/officeDocument/2006/relationships/tags" Target="../tags/tag95.xml"/><Relationship Id="rId91" Type="http://schemas.openxmlformats.org/officeDocument/2006/relationships/tags" Target="../tags/tag98.xml"/><Relationship Id="rId96" Type="http://schemas.openxmlformats.org/officeDocument/2006/relationships/tags" Target="../tags/tag103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49" Type="http://schemas.openxmlformats.org/officeDocument/2006/relationships/tags" Target="../tags/tag56.xml"/><Relationship Id="rId57" Type="http://schemas.openxmlformats.org/officeDocument/2006/relationships/tags" Target="../tags/tag64.xml"/><Relationship Id="rId106" Type="http://schemas.openxmlformats.org/officeDocument/2006/relationships/image" Target="../media/image8.emf"/><Relationship Id="rId10" Type="http://schemas.openxmlformats.org/officeDocument/2006/relationships/tags" Target="../tags/tag17.xml"/><Relationship Id="rId31" Type="http://schemas.openxmlformats.org/officeDocument/2006/relationships/tags" Target="../tags/tag38.xml"/><Relationship Id="rId44" Type="http://schemas.openxmlformats.org/officeDocument/2006/relationships/tags" Target="../tags/tag51.xml"/><Relationship Id="rId52" Type="http://schemas.openxmlformats.org/officeDocument/2006/relationships/tags" Target="../tags/tag59.xml"/><Relationship Id="rId60" Type="http://schemas.openxmlformats.org/officeDocument/2006/relationships/tags" Target="../tags/tag67.xml"/><Relationship Id="rId65" Type="http://schemas.openxmlformats.org/officeDocument/2006/relationships/tags" Target="../tags/tag72.xml"/><Relationship Id="rId73" Type="http://schemas.openxmlformats.org/officeDocument/2006/relationships/tags" Target="../tags/tag80.xml"/><Relationship Id="rId78" Type="http://schemas.openxmlformats.org/officeDocument/2006/relationships/tags" Target="../tags/tag85.xml"/><Relationship Id="rId81" Type="http://schemas.openxmlformats.org/officeDocument/2006/relationships/tags" Target="../tags/tag88.xml"/><Relationship Id="rId86" Type="http://schemas.openxmlformats.org/officeDocument/2006/relationships/tags" Target="../tags/tag93.xml"/><Relationship Id="rId94" Type="http://schemas.openxmlformats.org/officeDocument/2006/relationships/tags" Target="../tags/tag101.xml"/><Relationship Id="rId99" Type="http://schemas.openxmlformats.org/officeDocument/2006/relationships/oleObject" Target="../embeddings/oleObject8.bin"/><Relationship Id="rId101" Type="http://schemas.openxmlformats.org/officeDocument/2006/relationships/oleObject" Target="../embeddings/oleObject9.bin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9" Type="http://schemas.openxmlformats.org/officeDocument/2006/relationships/tags" Target="../tags/tag46.xml"/><Relationship Id="rId34" Type="http://schemas.openxmlformats.org/officeDocument/2006/relationships/tags" Target="../tags/tag41.xml"/><Relationship Id="rId50" Type="http://schemas.openxmlformats.org/officeDocument/2006/relationships/tags" Target="../tags/tag57.xml"/><Relationship Id="rId55" Type="http://schemas.openxmlformats.org/officeDocument/2006/relationships/tags" Target="../tags/tag62.xml"/><Relationship Id="rId76" Type="http://schemas.openxmlformats.org/officeDocument/2006/relationships/tags" Target="../tags/tag83.xml"/><Relationship Id="rId97" Type="http://schemas.openxmlformats.org/officeDocument/2006/relationships/tags" Target="../tags/tag104.xml"/><Relationship Id="rId10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26" Type="http://schemas.openxmlformats.org/officeDocument/2006/relationships/tags" Target="../tags/tag129.xml"/><Relationship Id="rId3" Type="http://schemas.openxmlformats.org/officeDocument/2006/relationships/tags" Target="../tags/tag106.xml"/><Relationship Id="rId21" Type="http://schemas.openxmlformats.org/officeDocument/2006/relationships/tags" Target="../tags/tag124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5" Type="http://schemas.openxmlformats.org/officeDocument/2006/relationships/tags" Target="../tags/tag128.xml"/><Relationship Id="rId33" Type="http://schemas.openxmlformats.org/officeDocument/2006/relationships/chart" Target="../charts/chart1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tags" Target="../tags/tag123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24" Type="http://schemas.openxmlformats.org/officeDocument/2006/relationships/tags" Target="../tags/tag127.xml"/><Relationship Id="rId32" Type="http://schemas.openxmlformats.org/officeDocument/2006/relationships/image" Target="../media/image9.emf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23" Type="http://schemas.openxmlformats.org/officeDocument/2006/relationships/tags" Target="../tags/tag126.xml"/><Relationship Id="rId28" Type="http://schemas.openxmlformats.org/officeDocument/2006/relationships/oleObject" Target="../embeddings/oleObject11.bin"/><Relationship Id="rId10" Type="http://schemas.openxmlformats.org/officeDocument/2006/relationships/tags" Target="../tags/tag113.xml"/><Relationship Id="rId19" Type="http://schemas.openxmlformats.org/officeDocument/2006/relationships/tags" Target="../tags/tag122.xml"/><Relationship Id="rId31" Type="http://schemas.openxmlformats.org/officeDocument/2006/relationships/oleObject" Target="../embeddings/oleObject12.bin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tags" Target="../tags/tag125.xml"/><Relationship Id="rId27" Type="http://schemas.openxmlformats.org/officeDocument/2006/relationships/slideLayout" Target="../slideLayouts/slideLayout4.xml"/><Relationship Id="rId30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55529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5" name="think-cell Slide" r:id="rId99" imgW="270" imgH="270" progId="TCLayout.ActiveDocument.1">
                  <p:embed/>
                </p:oleObj>
              </mc:Choice>
              <mc:Fallback>
                <p:oleObj name="think-cell Slide" r:id="rId99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endParaRPr lang="en-US" altLang="zh-CN" sz="1300" kern="0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6" name="Rectangle 12"/>
          <p:cNvSpPr/>
          <p:nvPr/>
        </p:nvSpPr>
        <p:spPr>
          <a:xfrm>
            <a:off x="0" y="1062676"/>
            <a:ext cx="12192000" cy="119222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74" tIns="45718" rIns="91274" bIns="45718" rtlCol="0" anchor="ctr"/>
          <a:lstStyle/>
          <a:p>
            <a:pPr algn="ctr" defTabSz="1216620"/>
            <a:endParaRPr lang="en-US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5144" y="74637"/>
            <a:ext cx="10153999" cy="991363"/>
          </a:xfrm>
        </p:spPr>
        <p:txBody>
          <a:bodyPr anchor="ctr">
            <a:noAutofit/>
          </a:bodyPr>
          <a:lstStyle/>
          <a:p>
            <a:r>
              <a:rPr lang="en-US" sz="1900" dirty="0"/>
              <a:t>Slightly uptake in May regarding sell-out and DC was missed target in April. Need to improve customer coverage for enhance SOV</a:t>
            </a:r>
            <a:endParaRPr lang="en-US" sz="1900" dirty="0">
              <a:solidFill>
                <a:schemeClr val="accent1"/>
              </a:solidFill>
            </a:endParaRPr>
          </a:p>
        </p:txBody>
      </p:sp>
      <p:sp>
        <p:nvSpPr>
          <p:cNvPr id="61" name="椭圆 321"/>
          <p:cNvSpPr/>
          <p:nvPr/>
        </p:nvSpPr>
        <p:spPr>
          <a:xfrm>
            <a:off x="4448390" y="2305163"/>
            <a:ext cx="823014" cy="345015"/>
          </a:xfrm>
          <a:prstGeom prst="ellipse">
            <a:avLst/>
          </a:prstGeom>
          <a:solidFill>
            <a:srgbClr val="237D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300" b="1" kern="0" dirty="0">
                <a:solidFill>
                  <a:prstClr val="white"/>
                </a:solidFill>
              </a:rPr>
              <a:t>1.2%</a:t>
            </a:r>
            <a:endParaRPr lang="zh-CN" altLang="en-US" sz="1300" b="1" kern="0" dirty="0">
              <a:solidFill>
                <a:prstClr val="white"/>
              </a:solidFill>
            </a:endParaRPr>
          </a:p>
        </p:txBody>
      </p:sp>
      <p:sp>
        <p:nvSpPr>
          <p:cNvPr id="62" name="椭圆 321"/>
          <p:cNvSpPr/>
          <p:nvPr/>
        </p:nvSpPr>
        <p:spPr>
          <a:xfrm>
            <a:off x="4448389" y="2739081"/>
            <a:ext cx="823015" cy="345015"/>
          </a:xfrm>
          <a:prstGeom prst="ellipse">
            <a:avLst/>
          </a:prstGeom>
          <a:solidFill>
            <a:srgbClr val="237D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200" b="1" kern="0" dirty="0">
                <a:solidFill>
                  <a:prstClr val="white"/>
                </a:solidFill>
              </a:rPr>
              <a:t>0.2%</a:t>
            </a:r>
            <a:endParaRPr lang="zh-CN" altLang="en-US" sz="1200" b="1" kern="0" dirty="0">
              <a:solidFill>
                <a:prstClr val="white"/>
              </a:solidFill>
            </a:endParaRPr>
          </a:p>
        </p:txBody>
      </p:sp>
      <p:sp>
        <p:nvSpPr>
          <p:cNvPr id="65" name="椭圆 321"/>
          <p:cNvSpPr/>
          <p:nvPr/>
        </p:nvSpPr>
        <p:spPr>
          <a:xfrm>
            <a:off x="5388171" y="2301989"/>
            <a:ext cx="768000" cy="345015"/>
          </a:xfrm>
          <a:prstGeom prst="ellipse">
            <a:avLst/>
          </a:prstGeom>
          <a:solidFill>
            <a:srgbClr val="237D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300" b="1" kern="0" dirty="0">
                <a:solidFill>
                  <a:prstClr val="white"/>
                </a:solidFill>
              </a:rPr>
              <a:t>108</a:t>
            </a:r>
            <a:endParaRPr lang="zh-CN" altLang="en-US" sz="1300" b="1" kern="0" dirty="0">
              <a:solidFill>
                <a:prstClr val="white"/>
              </a:solidFill>
            </a:endParaRPr>
          </a:p>
        </p:txBody>
      </p:sp>
      <p:sp>
        <p:nvSpPr>
          <p:cNvPr id="66" name="椭圆 321"/>
          <p:cNvSpPr/>
          <p:nvPr/>
        </p:nvSpPr>
        <p:spPr>
          <a:xfrm>
            <a:off x="5388171" y="2736965"/>
            <a:ext cx="768000" cy="345015"/>
          </a:xfrm>
          <a:prstGeom prst="ellipse">
            <a:avLst/>
          </a:prstGeom>
          <a:solidFill>
            <a:srgbClr val="237D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300" b="1" kern="0" dirty="0">
                <a:solidFill>
                  <a:prstClr val="white"/>
                </a:solidFill>
              </a:rPr>
              <a:t>103</a:t>
            </a:r>
            <a:endParaRPr lang="zh-CN" altLang="en-US" sz="1300" b="1" kern="0" dirty="0">
              <a:solidFill>
                <a:prstClr val="white"/>
              </a:solidFill>
            </a:endParaRPr>
          </a:p>
        </p:txBody>
      </p:sp>
      <p:sp>
        <p:nvSpPr>
          <p:cNvPr id="68" name="TextBox 78"/>
          <p:cNvSpPr txBox="1">
            <a:spLocks noChangeArrowheads="1"/>
          </p:cNvSpPr>
          <p:nvPr/>
        </p:nvSpPr>
        <p:spPr bwMode="auto">
          <a:xfrm>
            <a:off x="1774617" y="1438680"/>
            <a:ext cx="1151467" cy="297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672" tIns="60837" rIns="121672" bIns="60837" anchor="ctr"/>
          <a:lstStyle/>
          <a:p>
            <a:pPr marL="190114" indent="-190114" algn="ctr" defTabSz="121647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u="sng" kern="0" dirty="0">
                <a:solidFill>
                  <a:srgbClr val="000000"/>
                </a:solidFill>
              </a:rPr>
              <a:t>Share%</a:t>
            </a:r>
            <a:endParaRPr lang="zh-CN" altLang="en-US" sz="1600" u="sng" kern="0" dirty="0">
              <a:solidFill>
                <a:srgbClr val="000000"/>
              </a:solidFill>
            </a:endParaRPr>
          </a:p>
        </p:txBody>
      </p:sp>
      <p:sp>
        <p:nvSpPr>
          <p:cNvPr id="79" name="Rectangle 78"/>
          <p:cNvSpPr/>
          <p:nvPr>
            <p:custDataLst>
              <p:tags r:id="rId4"/>
            </p:custDataLst>
          </p:nvPr>
        </p:nvSpPr>
        <p:spPr bwMode="auto">
          <a:xfrm>
            <a:off x="1260475" y="3709988"/>
            <a:ext cx="231775" cy="1730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74" tIns="45718" rIns="91274" bIns="45718" rtlCol="0" anchor="ctr"/>
          <a:lstStyle/>
          <a:p>
            <a:pPr algn="ctr" defTabSz="1216474"/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72" name="Rectangle 71"/>
          <p:cNvSpPr/>
          <p:nvPr>
            <p:custDataLst>
              <p:tags r:id="rId5"/>
            </p:custDataLst>
          </p:nvPr>
        </p:nvSpPr>
        <p:spPr bwMode="auto">
          <a:xfrm>
            <a:off x="1260475" y="3460751"/>
            <a:ext cx="231775" cy="1730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74" tIns="45718" rIns="91274" bIns="45718" rtlCol="0" anchor="ctr"/>
          <a:lstStyle/>
          <a:p>
            <a:pPr algn="ctr" defTabSz="1216474"/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543050" y="3703638"/>
            <a:ext cx="7493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6A691446-CEAF-41B5-BCF9-261826C4BB81}" type="datetime'2''0''''1''''''7''YT''''''''''''''''''D'">
              <a:rPr lang="en-US" altLang="en-US" sz="1300">
                <a:solidFill>
                  <a:srgbClr val="505050"/>
                </a:solidFill>
              </a:rPr>
              <a:pPr marL="0" indent="0" defTabSz="608227">
                <a:spcBef>
                  <a:spcPct val="0"/>
                </a:spcBef>
                <a:spcAft>
                  <a:spcPct val="0"/>
                </a:spcAft>
                <a:buNone/>
              </a:pPr>
              <a:t>2017YTD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43050" y="3454400"/>
            <a:ext cx="7493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FFB6510E-8B1F-479B-80FB-7C06AFE522B6}" type="datetime'2''''''''0''1''6''''''''''''''''YT''''D'''''''''">
              <a:rPr lang="en-US" altLang="en-US" sz="1300">
                <a:solidFill>
                  <a:srgbClr val="505050"/>
                </a:solidFill>
              </a:rPr>
              <a:pPr marL="0" indent="0" defTabSz="608227">
                <a:spcBef>
                  <a:spcPct val="0"/>
                </a:spcBef>
                <a:spcAft>
                  <a:spcPct val="0"/>
                </a:spcAft>
                <a:buNone/>
              </a:pPr>
              <a:t>2016YTD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cxnSp>
        <p:nvCxnSpPr>
          <p:cNvPr id="51" name="Straight Connector 50"/>
          <p:cNvCxnSpPr/>
          <p:nvPr>
            <p:custDataLst>
              <p:tags r:id="rId8"/>
            </p:custDataLst>
          </p:nvPr>
        </p:nvCxnSpPr>
        <p:spPr bwMode="auto">
          <a:xfrm flipV="1">
            <a:off x="1200150" y="4667250"/>
            <a:ext cx="381000" cy="952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>
            <p:custDataLst>
              <p:tags r:id="rId9"/>
            </p:custDataLst>
          </p:nvPr>
        </p:nvCxnSpPr>
        <p:spPr bwMode="auto">
          <a:xfrm flipV="1">
            <a:off x="10563225" y="4676775"/>
            <a:ext cx="381000" cy="3619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10"/>
            </p:custDataLst>
          </p:nvPr>
        </p:nvCxnSpPr>
        <p:spPr bwMode="auto">
          <a:xfrm>
            <a:off x="9705975" y="4924425"/>
            <a:ext cx="38100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11"/>
            </p:custDataLst>
          </p:nvPr>
        </p:nvCxnSpPr>
        <p:spPr bwMode="auto">
          <a:xfrm flipV="1">
            <a:off x="8858250" y="4924425"/>
            <a:ext cx="381000" cy="2952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989" name="Straight Connector 69988"/>
          <p:cNvCxnSpPr/>
          <p:nvPr>
            <p:custDataLst>
              <p:tags r:id="rId12"/>
            </p:custDataLst>
          </p:nvPr>
        </p:nvCxnSpPr>
        <p:spPr bwMode="auto">
          <a:xfrm>
            <a:off x="8010525" y="5210175"/>
            <a:ext cx="381000" cy="1809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988" name="直接连接符 69987"/>
          <p:cNvCxnSpPr/>
          <p:nvPr>
            <p:custDataLst>
              <p:tags r:id="rId13"/>
            </p:custDataLst>
          </p:nvPr>
        </p:nvCxnSpPr>
        <p:spPr bwMode="auto">
          <a:xfrm>
            <a:off x="8010525" y="4914899"/>
            <a:ext cx="381000" cy="3048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14"/>
            </p:custDataLst>
          </p:nvPr>
        </p:nvCxnSpPr>
        <p:spPr bwMode="auto">
          <a:xfrm flipV="1">
            <a:off x="7153275" y="5210175"/>
            <a:ext cx="38100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987" name="直接连接符 69986"/>
          <p:cNvCxnSpPr/>
          <p:nvPr>
            <p:custDataLst>
              <p:tags r:id="rId15"/>
            </p:custDataLst>
          </p:nvPr>
        </p:nvCxnSpPr>
        <p:spPr bwMode="auto">
          <a:xfrm flipV="1">
            <a:off x="7153275" y="4914900"/>
            <a:ext cx="381000" cy="2381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984" name="Straight Connector 69983"/>
          <p:cNvCxnSpPr/>
          <p:nvPr>
            <p:custDataLst>
              <p:tags r:id="rId16"/>
            </p:custDataLst>
          </p:nvPr>
        </p:nvCxnSpPr>
        <p:spPr bwMode="auto">
          <a:xfrm>
            <a:off x="6305550" y="5314950"/>
            <a:ext cx="381000" cy="95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17"/>
            </p:custDataLst>
          </p:nvPr>
        </p:nvCxnSpPr>
        <p:spPr bwMode="auto">
          <a:xfrm>
            <a:off x="6305550" y="5067301"/>
            <a:ext cx="381000" cy="857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>
            <p:custDataLst>
              <p:tags r:id="rId18"/>
            </p:custDataLst>
          </p:nvPr>
        </p:nvCxnSpPr>
        <p:spPr bwMode="auto">
          <a:xfrm>
            <a:off x="5457825" y="5295900"/>
            <a:ext cx="381000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19"/>
            </p:custDataLst>
          </p:nvPr>
        </p:nvCxnSpPr>
        <p:spPr bwMode="auto">
          <a:xfrm flipV="1">
            <a:off x="5457825" y="5067300"/>
            <a:ext cx="381000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20"/>
            </p:custDataLst>
          </p:nvPr>
        </p:nvCxnSpPr>
        <p:spPr bwMode="auto">
          <a:xfrm>
            <a:off x="4610100" y="5086350"/>
            <a:ext cx="381000" cy="2095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21"/>
            </p:custDataLst>
          </p:nvPr>
        </p:nvCxnSpPr>
        <p:spPr bwMode="auto">
          <a:xfrm>
            <a:off x="4610100" y="4629260"/>
            <a:ext cx="381000" cy="4572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>
            <p:custDataLst>
              <p:tags r:id="rId22"/>
            </p:custDataLst>
          </p:nvPr>
        </p:nvCxnSpPr>
        <p:spPr bwMode="auto">
          <a:xfrm>
            <a:off x="3752850" y="5086350"/>
            <a:ext cx="3810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23"/>
            </p:custDataLst>
          </p:nvPr>
        </p:nvCxnSpPr>
        <p:spPr bwMode="auto">
          <a:xfrm flipV="1">
            <a:off x="3752850" y="4629150"/>
            <a:ext cx="381000" cy="285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24"/>
            </p:custDataLst>
          </p:nvPr>
        </p:nvCxnSpPr>
        <p:spPr bwMode="auto">
          <a:xfrm flipV="1">
            <a:off x="2905125" y="5086350"/>
            <a:ext cx="381000" cy="666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25"/>
            </p:custDataLst>
          </p:nvPr>
        </p:nvCxnSpPr>
        <p:spPr bwMode="auto">
          <a:xfrm flipV="1">
            <a:off x="2905125" y="4657725"/>
            <a:ext cx="381000" cy="285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26"/>
            </p:custDataLst>
          </p:nvPr>
        </p:nvCxnSpPr>
        <p:spPr bwMode="auto">
          <a:xfrm>
            <a:off x="2057400" y="5048250"/>
            <a:ext cx="381000" cy="1047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27"/>
            </p:custDataLst>
          </p:nvPr>
        </p:nvCxnSpPr>
        <p:spPr bwMode="auto">
          <a:xfrm>
            <a:off x="2057400" y="4667249"/>
            <a:ext cx="381000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28"/>
            </p:custDataLst>
          </p:nvPr>
        </p:nvCxnSpPr>
        <p:spPr bwMode="auto">
          <a:xfrm flipV="1">
            <a:off x="1200150" y="5048250"/>
            <a:ext cx="381000" cy="666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4" name="Object 73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545879404"/>
              </p:ext>
            </p:extLst>
          </p:nvPr>
        </p:nvGraphicFramePr>
        <p:xfrm>
          <a:off x="419100" y="4533900"/>
          <a:ext cx="11287038" cy="12573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6" name="Chart" r:id="rId101" imgW="11287038" imgH="1257351" progId="MSGraph.Chart.8">
                  <p:embed followColorScheme="full"/>
                </p:oleObj>
              </mc:Choice>
              <mc:Fallback>
                <p:oleObj name="Chart" r:id="rId101" imgW="11287038" imgH="1257351" progId="MSGraph.Chart.8">
                  <p:embed followColorScheme="full"/>
                  <p:pic>
                    <p:nvPicPr>
                      <p:cNvPr id="74" name="Object 73"/>
                      <p:cNvPicPr/>
                      <p:nvPr/>
                    </p:nvPicPr>
                    <p:blipFill>
                      <a:blip r:embed="rId102"/>
                      <a:stretch>
                        <a:fillRect/>
                      </a:stretch>
                    </p:blipFill>
                    <p:spPr>
                      <a:xfrm>
                        <a:off x="419100" y="4533900"/>
                        <a:ext cx="11287038" cy="12573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029950" y="5767388"/>
            <a:ext cx="2968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C60CD72B-24B1-47C7-B396-4181430D951A}" type="datetime'''M''''''''''''''a''''''''''y'''''''''''''''''''''''">
              <a:rPr lang="en-US" altLang="en-US" sz="1100">
                <a:solidFill>
                  <a:srgbClr val="505050"/>
                </a:solidFill>
              </a:rPr>
              <a:pPr/>
              <a:t>May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166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1049000" y="4452938"/>
            <a:ext cx="25717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456183" indent="-456183" algn="l" defTabSz="608243" rtl="0" eaLnBrk="1" latinLnBrk="0" hangingPunct="1">
              <a:spcBef>
                <a:spcPct val="20000"/>
              </a:spcBef>
              <a:buFont typeface="Wingdings" charset="2"/>
              <a:buChar char="§"/>
              <a:defRPr sz="27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88558" indent="-380206" algn="l" defTabSz="608243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0771" indent="-304120" algn="l" defTabSz="608243" rtl="0" eaLnBrk="1" latinLnBrk="0" hangingPunct="1">
              <a:spcBef>
                <a:spcPct val="20000"/>
              </a:spcBef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29067" indent="-304120" algn="l" defTabSz="608243" rtl="0" eaLnBrk="1" latinLnBrk="0" hangingPunct="1">
              <a:spcBef>
                <a:spcPct val="20000"/>
              </a:spcBef>
              <a:buFont typeface="Arial"/>
              <a:buChar char="–"/>
              <a:defRPr sz="13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37418" indent="-304120" algn="l" defTabSz="608243" rtl="0" eaLnBrk="1" latinLnBrk="0" hangingPunct="1">
              <a:spcBef>
                <a:spcPct val="20000"/>
              </a:spcBef>
              <a:buFont typeface="Arial"/>
              <a:buChar char="»"/>
              <a:defRPr sz="27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45660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4013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2311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0607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107C54-725D-4A24-A43C-707A2E960DCF}" type="datetime'''''''''''''''''3''''''''''1'''''''''''''''''''">
              <a:rPr lang="en-US" altLang="en-US" sz="1300"/>
              <a:pPr/>
              <a:t>31</a:t>
            </a:fld>
            <a:endParaRPr lang="en-US" altLang="zh-CN" sz="1300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1010900" y="5121275"/>
            <a:ext cx="3333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456183" indent="-456183" algn="l" defTabSz="608243" rtl="0" eaLnBrk="1" latinLnBrk="0" hangingPunct="1">
              <a:spcBef>
                <a:spcPct val="20000"/>
              </a:spcBef>
              <a:buFont typeface="Wingdings" charset="2"/>
              <a:buChar char="§"/>
              <a:defRPr sz="27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88558" indent="-380206" algn="l" defTabSz="608243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0771" indent="-304120" algn="l" defTabSz="608243" rtl="0" eaLnBrk="1" latinLnBrk="0" hangingPunct="1">
              <a:spcBef>
                <a:spcPct val="20000"/>
              </a:spcBef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29067" indent="-304120" algn="l" defTabSz="608243" rtl="0" eaLnBrk="1" latinLnBrk="0" hangingPunct="1">
              <a:spcBef>
                <a:spcPct val="20000"/>
              </a:spcBef>
              <a:buFont typeface="Arial"/>
              <a:buChar char="–"/>
              <a:defRPr sz="13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37418" indent="-304120" algn="l" defTabSz="608243" rtl="0" eaLnBrk="1" latinLnBrk="0" hangingPunct="1">
              <a:spcBef>
                <a:spcPct val="20000"/>
              </a:spcBef>
              <a:buFont typeface="Arial"/>
              <a:buChar char="»"/>
              <a:defRPr sz="27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45660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4013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2311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0607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F7E877-D6C6-4839-9E31-FED46CEE6159}" type="datetime'''''''''''''''''''''1''''''''''''''''0''''''''0''%'''''">
              <a:rPr lang="en-US" altLang="en-US" sz="800">
                <a:latin typeface="Verdana" panose="020B0604030504040204" pitchFamily="34" charset="0"/>
                <a:ea typeface="宋体" panose="02010600030101010101" pitchFamily="2" charset="-122"/>
                <a:cs typeface="Verdana" panose="020B0604030504040204" pitchFamily="34" charset="0"/>
                <a:sym typeface="Verdan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altLang="zh-CN" sz="800" dirty="0">
              <a:latin typeface="Verdana" panose="020B0604030504040204" pitchFamily="34" charset="0"/>
              <a:ea typeface="宋体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198100" y="5767388"/>
            <a:ext cx="2555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78337CB6-9C86-48CD-93DE-AC57BEBD1740}" type="datetime'''A''''''''''''''''''''''p''r'''''''''''''''''''''">
              <a:rPr lang="en-US" altLang="en-US" sz="1100">
                <a:solidFill>
                  <a:srgbClr val="505050"/>
                </a:solidFill>
              </a:rPr>
              <a:pPr/>
              <a:t>Apr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19" name="Rectangle 18"/>
          <p:cNvSpPr/>
          <p:nvPr>
            <p:custDataLst>
              <p:tags r:id="rId34"/>
            </p:custDataLst>
          </p:nvPr>
        </p:nvSpPr>
        <p:spPr bwMode="gray">
          <a:xfrm>
            <a:off x="10196513" y="4814888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DD96B6-AFCC-45C0-8321-39D54C15B526}" type="datetime'''2''''''''''''''''''''''''''''''''''''''''''0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20</a:t>
            </a:fld>
            <a:endParaRPr lang="en-US" sz="13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4" name="Rectangle 23"/>
          <p:cNvSpPr/>
          <p:nvPr>
            <p:custDataLst>
              <p:tags r:id="rId35"/>
            </p:custDataLst>
          </p:nvPr>
        </p:nvSpPr>
        <p:spPr bwMode="gray">
          <a:xfrm>
            <a:off x="10191750" y="5440363"/>
            <a:ext cx="2682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CD5728-DFCA-44C6-9C19-3481166FF559}" type="datetime'''''''''''''''''''''''''''''''5''''''7''''%'''''''">
              <a:rPr lang="en-US" altLang="en-US" sz="800">
                <a:solidFill>
                  <a:schemeClr val="bg1"/>
                </a:solidFill>
                <a:latin typeface="Verdana" panose="020B0604030504040204" pitchFamily="34" charset="0"/>
                <a:ea typeface="宋体" panose="02010600030101010101" pitchFamily="2" charset="-122"/>
                <a:cs typeface="Verdana" panose="020B0604030504040204" pitchFamily="34" charset="0"/>
                <a:sym typeface="Verdana" panose="020B0604030504040204" pitchFamily="34" charset="0"/>
              </a:rPr>
              <a:pPr/>
              <a:t>57%</a:t>
            </a:fld>
            <a:endParaRPr lang="en-US" sz="800">
              <a:solidFill>
                <a:schemeClr val="bg1"/>
              </a:solidFill>
              <a:latin typeface="Verdana" panose="020B0604030504040204" pitchFamily="34" charset="0"/>
              <a:ea typeface="宋体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" name="Rectangle 24"/>
          <p:cNvSpPr/>
          <p:nvPr>
            <p:custDataLst>
              <p:tags r:id="rId36"/>
            </p:custDataLst>
          </p:nvPr>
        </p:nvSpPr>
        <p:spPr bwMode="gray">
          <a:xfrm>
            <a:off x="10191750" y="5116513"/>
            <a:ext cx="2682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61263A-891B-4019-B5D8-CF5C31CC3FF0}" type="datetime'''''''''''''''4''3''''''''''''''''''''''''%'''''''''''''''''''">
              <a:rPr lang="en-US" altLang="en-US" sz="800">
                <a:solidFill>
                  <a:schemeClr val="tx1"/>
                </a:solidFill>
                <a:latin typeface="Verdana" panose="020B0604030504040204" pitchFamily="34" charset="0"/>
                <a:ea typeface="宋体" panose="02010600030101010101" pitchFamily="2" charset="-122"/>
                <a:cs typeface="Verdana" panose="020B0604030504040204" pitchFamily="34" charset="0"/>
                <a:sym typeface="Verdana" panose="020B0604030504040204" pitchFamily="34" charset="0"/>
              </a:rPr>
              <a:pPr/>
              <a:t>43%</a:t>
            </a:fld>
            <a:endParaRPr lang="en-US" sz="800">
              <a:solidFill>
                <a:schemeClr val="tx1"/>
              </a:solidFill>
              <a:latin typeface="Verdana" panose="020B0604030504040204" pitchFamily="34" charset="0"/>
              <a:ea typeface="宋体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336088" y="5767388"/>
            <a:ext cx="2746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1EB1AFE2-59A2-4582-A0B5-E9F5803FE21C}" type="datetime'''''''''''''''''''''''M''''a''''''''''''r'''''''''''''''">
              <a:rPr lang="en-US" altLang="en-US" sz="1100">
                <a:solidFill>
                  <a:srgbClr val="505050"/>
                </a:solidFill>
              </a:rPr>
              <a:pPr/>
              <a:t>Mar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39" name="Rectangle 38"/>
          <p:cNvSpPr/>
          <p:nvPr>
            <p:custDataLst>
              <p:tags r:id="rId38"/>
            </p:custDataLst>
          </p:nvPr>
        </p:nvSpPr>
        <p:spPr bwMode="gray">
          <a:xfrm>
            <a:off x="9344025" y="4700588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3282" tIns="0" rIns="23282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002C9BDC-66CB-4766-98FF-E6D0AB451F01}" type="datetime'''''''''''''''''''''''''''2''''''''3''''''''''''''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23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2" name="矩形 111"/>
          <p:cNvSpPr/>
          <p:nvPr>
            <p:custDataLst>
              <p:tags r:id="rId39"/>
            </p:custDataLst>
          </p:nvPr>
        </p:nvSpPr>
        <p:spPr bwMode="gray">
          <a:xfrm>
            <a:off x="9339263" y="5387975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6DAC08-C3A9-4F91-9C8C-2718605099DA}" type="datetime'''''''6''''''''''''''''''''''''3''''''''''''''''''%''''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63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ea typeface="宋体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3" name="矩形 112"/>
          <p:cNvSpPr/>
          <p:nvPr>
            <p:custDataLst>
              <p:tags r:id="rId40"/>
            </p:custDataLst>
          </p:nvPr>
        </p:nvSpPr>
        <p:spPr bwMode="gray">
          <a:xfrm>
            <a:off x="9339263" y="5006975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2670DC-9D86-4630-9A22-47DD3A1EC587}" type="datetime'''''''3''7''''''%''''''''''''''''''''''''''''''''''''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7%</a:t>
            </a:fld>
            <a:endParaRPr lang="zh-CN" altLang="en-US" sz="8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493125" y="5767388"/>
            <a:ext cx="2635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2A3F96AC-CD5F-4EC0-AA39-F0272AC61D2C}" type="datetime'F''''''''''e''''''''''''''b'''''''''''''''''''''''''''''">
              <a:rPr lang="en-US" altLang="en-US" sz="1100">
                <a:solidFill>
                  <a:srgbClr val="505050"/>
                </a:solidFill>
              </a:rPr>
              <a:pPr/>
              <a:t>Feb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38" name="Rectangle 37"/>
          <p:cNvSpPr/>
          <p:nvPr>
            <p:custDataLst>
              <p:tags r:id="rId42"/>
            </p:custDataLst>
          </p:nvPr>
        </p:nvSpPr>
        <p:spPr bwMode="gray">
          <a:xfrm>
            <a:off x="8496300" y="4995863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09C830B3-BCE4-4A67-A696-BBC823A9B009}" type="datetime'''''''''''''''''''''''''''''1''''''''''''''''''''4''''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14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8" name="矩形 107"/>
          <p:cNvSpPr/>
          <p:nvPr>
            <p:custDataLst>
              <p:tags r:id="rId43"/>
            </p:custDataLst>
          </p:nvPr>
        </p:nvSpPr>
        <p:spPr bwMode="gray">
          <a:xfrm>
            <a:off x="8491538" y="5478463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1CA5F9-378A-4C89-AE90-2B397EFBCF73}" type="datetime'''''''''''6''2''''''''''''''%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62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9" name="矩形 108"/>
          <p:cNvSpPr/>
          <p:nvPr>
            <p:custDataLst>
              <p:tags r:id="rId44"/>
            </p:custDataLst>
          </p:nvPr>
        </p:nvSpPr>
        <p:spPr bwMode="gray">
          <a:xfrm>
            <a:off x="8491538" y="5245100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C06DC6-6D2C-4157-9F87-43EE29367C23}" type="datetime'''''''3''''8%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8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648575" y="5767388"/>
            <a:ext cx="2492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3E919E05-7FBB-42CC-8458-2D3296729DEC}" type="datetime'''''Ja''''''''''''n'''''''''''''''''''''''''''''''''''''''''''">
              <a:rPr lang="en-US" altLang="en-US" sz="1100">
                <a:solidFill>
                  <a:srgbClr val="505050"/>
                </a:solidFill>
              </a:rPr>
              <a:pPr/>
              <a:t>Jan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34" name="Rectangle 33"/>
          <p:cNvSpPr/>
          <p:nvPr>
            <p:custDataLst>
              <p:tags r:id="rId46"/>
            </p:custDataLst>
          </p:nvPr>
        </p:nvSpPr>
        <p:spPr bwMode="gray">
          <a:xfrm>
            <a:off x="7643813" y="4691063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C79BA47E-B8FA-4130-9349-67822E4F1F37}" type="datetime'''''''''''''''''''''''''2''''''''''''4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24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3" name="矩形 102"/>
          <p:cNvSpPr/>
          <p:nvPr>
            <p:custDataLst>
              <p:tags r:id="rId47"/>
            </p:custDataLst>
          </p:nvPr>
        </p:nvSpPr>
        <p:spPr bwMode="gray">
          <a:xfrm>
            <a:off x="7639050" y="5387975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8F6C4E-4ECC-4766-90D1-6E3F97B8BD6D}" type="datetime'''''''''''''''''''''''''6''2''''%''''''''''''''''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62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4" name="矩形 103"/>
          <p:cNvSpPr/>
          <p:nvPr>
            <p:custDataLst>
              <p:tags r:id="rId48"/>
            </p:custDataLst>
          </p:nvPr>
        </p:nvSpPr>
        <p:spPr bwMode="gray">
          <a:xfrm>
            <a:off x="7639050" y="5002213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86BF9E-7161-4799-AD5D-635E3A9E8901}" type="datetime'''''''''''''''''3''''''''''''''''''''''''''''''''8%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8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781800" y="5767388"/>
            <a:ext cx="2762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E8B97C0E-8CC7-4AE5-A1E7-CB304CA8ABEA}" type="datetime'''''''''''''D''''''e''''''''''c'''''''">
              <a:rPr lang="en-US" altLang="en-US" sz="1100">
                <a:solidFill>
                  <a:srgbClr val="505050"/>
                </a:solidFill>
              </a:rPr>
              <a:pPr/>
              <a:t>Dec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33" name="Rectangle 32"/>
          <p:cNvSpPr/>
          <p:nvPr>
            <p:custDataLst>
              <p:tags r:id="rId50"/>
            </p:custDataLst>
          </p:nvPr>
        </p:nvSpPr>
        <p:spPr bwMode="gray">
          <a:xfrm>
            <a:off x="6791325" y="4929188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1CA80C5E-BE83-4353-81E6-41F851F01662}" type="datetime'''''''''''''''''''''''1''''''''6''''''''''''''''''''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16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0" name="矩形 99"/>
          <p:cNvSpPr/>
          <p:nvPr>
            <p:custDataLst>
              <p:tags r:id="rId51"/>
            </p:custDataLst>
          </p:nvPr>
        </p:nvSpPr>
        <p:spPr bwMode="gray">
          <a:xfrm>
            <a:off x="6786563" y="5445125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BA89FC-DB47-4682-8D56-A9C0A7D0F7A3}" type="datetime'''''''''''6''''8''''''''''''''''''''%''''''''''''''''''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68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1" name="矩形 100"/>
          <p:cNvSpPr/>
          <p:nvPr>
            <p:custDataLst>
              <p:tags r:id="rId52"/>
            </p:custDataLst>
          </p:nvPr>
        </p:nvSpPr>
        <p:spPr bwMode="gray">
          <a:xfrm>
            <a:off x="6786563" y="5178425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E3BCE4-422F-4409-9D44-48388F1C3CDD}" type="datetime'''''3''''''''''''''''''''''''''''''''''2''''%''''''''''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2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930900" y="5767388"/>
            <a:ext cx="2841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03629D48-FC53-4987-92BA-92E0C0D3727D}" type="datetime'''''''''''''''''''''''''''''''N''''''''''''''''o''v'''''">
              <a:rPr lang="en-US" altLang="en-US" sz="1100">
                <a:solidFill>
                  <a:srgbClr val="505050"/>
                </a:solidFill>
              </a:rPr>
              <a:pPr/>
              <a:t>Nov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32" name="Rectangle 31"/>
          <p:cNvSpPr/>
          <p:nvPr>
            <p:custDataLst>
              <p:tags r:id="rId54"/>
            </p:custDataLst>
          </p:nvPr>
        </p:nvSpPr>
        <p:spPr bwMode="gray">
          <a:xfrm>
            <a:off x="5943600" y="4843463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375B250D-1E9C-4C6A-8785-6BD620C9A609}" type="datetime'''''''''''''''''''''''''1''9''''''''''''''''''''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19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8" name="矩形 97"/>
          <p:cNvSpPr/>
          <p:nvPr>
            <p:custDataLst>
              <p:tags r:id="rId55"/>
            </p:custDataLst>
          </p:nvPr>
        </p:nvSpPr>
        <p:spPr bwMode="gray">
          <a:xfrm>
            <a:off x="5938838" y="5440363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E7CB73-5247-4357-A20B-0325E3E7EA1A}" type="datetime'''''''''''''6''''''''''''''0''%''''''''''''''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60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9" name="矩形 98"/>
          <p:cNvSpPr/>
          <p:nvPr>
            <p:custDataLst>
              <p:tags r:id="rId56"/>
            </p:custDataLst>
          </p:nvPr>
        </p:nvSpPr>
        <p:spPr bwMode="gray">
          <a:xfrm>
            <a:off x="5938838" y="5130800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42796D-7D6A-4C73-8EE5-96FAC0B02AEE}" type="datetime'''''''''''''4''''''''''0%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40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099050" y="5767388"/>
            <a:ext cx="2508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CB1C37EE-6D6B-4579-A594-BDEC66102085}" type="datetime'''''''O''''''''''''''''''''''''''''''''''ct'''''''''">
              <a:rPr lang="en-US" altLang="en-US" sz="1100">
                <a:solidFill>
                  <a:srgbClr val="505050"/>
                </a:solidFill>
              </a:rPr>
              <a:pPr/>
              <a:t>Oct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31" name="Rectangle 30"/>
          <p:cNvSpPr/>
          <p:nvPr>
            <p:custDataLst>
              <p:tags r:id="rId58"/>
            </p:custDataLst>
          </p:nvPr>
        </p:nvSpPr>
        <p:spPr bwMode="gray">
          <a:xfrm>
            <a:off x="5095875" y="4862513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4DCD0B32-C320-4E1F-B2A5-0C413D6EF8DF}" type="datetime'''''''''''''''''''''1''''8''''''''''''''''''''''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18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4" name="矩形 93"/>
          <p:cNvSpPr/>
          <p:nvPr>
            <p:custDataLst>
              <p:tags r:id="rId59"/>
            </p:custDataLst>
          </p:nvPr>
        </p:nvSpPr>
        <p:spPr bwMode="gray">
          <a:xfrm>
            <a:off x="5091113" y="5430838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3AB4F92-7D20-44C7-96ED-8FC3CF75A1D0}" type="datetime'''6''''''''''''5''''''''''''''''''''''''%''''''''''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65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7" name="矩形 96"/>
          <p:cNvSpPr/>
          <p:nvPr>
            <p:custDataLst>
              <p:tags r:id="rId60"/>
            </p:custDataLst>
          </p:nvPr>
        </p:nvSpPr>
        <p:spPr bwMode="gray">
          <a:xfrm>
            <a:off x="5091113" y="5130800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03FE69-0E47-4712-AC40-5415BBABF103}" type="datetime'''''''''''''3''''''''''''''5''''''''''''''''''''''''''%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5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4233863" y="5767388"/>
            <a:ext cx="2778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C001338B-9FA9-442C-BB51-64530FCD7EE3}" type="datetime'S''''''''''''''''''e''''''''''''''''''''''''''''''''p'''">
              <a:rPr lang="en-US" altLang="en-US" sz="1100">
                <a:solidFill>
                  <a:srgbClr val="505050"/>
                </a:solidFill>
              </a:rPr>
              <a:pPr/>
              <a:t>Sep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30" name="Rectangle 29"/>
          <p:cNvSpPr/>
          <p:nvPr>
            <p:custDataLst>
              <p:tags r:id="rId62"/>
            </p:custDataLst>
          </p:nvPr>
        </p:nvSpPr>
        <p:spPr bwMode="gray">
          <a:xfrm>
            <a:off x="4243388" y="4405313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9FE70E0E-1BE4-4939-9BFA-DDE9C76DEC11}" type="datetime'''3''''''''''''''''2''''''''''''''''''''''''''''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algn="ctr" defTabSz="1216620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3" name="矩形 72"/>
          <p:cNvSpPr/>
          <p:nvPr>
            <p:custDataLst>
              <p:tags r:id="rId63"/>
            </p:custDataLst>
          </p:nvPr>
        </p:nvSpPr>
        <p:spPr bwMode="gray">
          <a:xfrm>
            <a:off x="4238625" y="5326063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F217433-CB6F-4AB2-87AA-F6F833911F18}" type="datetime'''''''''''''''''''''57''''''''''''%''''''''''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57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3" name="矩形 92"/>
          <p:cNvSpPr/>
          <p:nvPr>
            <p:custDataLst>
              <p:tags r:id="rId64"/>
            </p:custDataLst>
          </p:nvPr>
        </p:nvSpPr>
        <p:spPr bwMode="gray">
          <a:xfrm>
            <a:off x="4238625" y="4797425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AFB18E6-652D-40FC-8C76-E6BF62BF258C}" type="datetime'''''''''''''''4''''''''3''%''''''''''''''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43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3378200" y="5767388"/>
            <a:ext cx="2841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DBD0CA0F-E1B4-4016-8609-A160107916E6}" type="datetime'A''''u''''''''''''''''''''''''''''''''''''''''''''g'">
              <a:rPr lang="en-US" altLang="en-US" sz="1100">
                <a:solidFill>
                  <a:srgbClr val="505050"/>
                </a:solidFill>
              </a:rPr>
              <a:pPr/>
              <a:t>Aug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29" name="Rectangle 28"/>
          <p:cNvSpPr/>
          <p:nvPr>
            <p:custDataLst>
              <p:tags r:id="rId66"/>
            </p:custDataLst>
          </p:nvPr>
        </p:nvSpPr>
        <p:spPr bwMode="gray">
          <a:xfrm>
            <a:off x="3390900" y="4433888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AB4F4C0E-4C02-4959-9C65-C2A4B8F1905A}" type="datetime'''''''''''''''''3''''''''''''''''''''''''''2''''''''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2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2" name="矩形 51"/>
          <p:cNvSpPr/>
          <p:nvPr>
            <p:custDataLst>
              <p:tags r:id="rId67"/>
            </p:custDataLst>
          </p:nvPr>
        </p:nvSpPr>
        <p:spPr bwMode="gray">
          <a:xfrm>
            <a:off x="3386138" y="5326063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705070-08A5-4E9E-B962-A1E7A334277D}" type="datetime'''''''''''''''58''''''''''''''''''''''''%''''''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58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0" name="矩形 69"/>
          <p:cNvSpPr/>
          <p:nvPr>
            <p:custDataLst>
              <p:tags r:id="rId68"/>
            </p:custDataLst>
          </p:nvPr>
        </p:nvSpPr>
        <p:spPr bwMode="gray">
          <a:xfrm>
            <a:off x="3386138" y="4811713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710D186-0AC7-4E7F-8A65-A92C358DF03D}" type="datetime'4''''''2''''''''''''''%''''''''''''''''''''''''''''''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42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2570163" y="5767388"/>
            <a:ext cx="2032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894824A2-1F7E-4DCC-92D9-621F8DDE82DC}" type="datetime'''''''''J''''''ul'''''''''''''''''''''''''''''''''''''">
              <a:rPr lang="en-US" altLang="en-US" sz="1100">
                <a:solidFill>
                  <a:srgbClr val="505050"/>
                </a:solidFill>
              </a:rPr>
              <a:pPr/>
              <a:t>Jul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28" name="Rectangle 27"/>
          <p:cNvSpPr/>
          <p:nvPr>
            <p:custDataLst>
              <p:tags r:id="rId70"/>
            </p:custDataLst>
          </p:nvPr>
        </p:nvSpPr>
        <p:spPr bwMode="gray">
          <a:xfrm>
            <a:off x="2543175" y="4462463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E19D6E07-4C1C-48F7-A6E9-2AE838A42F9D}" type="datetime'''''''''''''''''''''''3''''''''''''1''''''''''''''''''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algn="ctr" defTabSz="1216620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矩形 46"/>
          <p:cNvSpPr/>
          <p:nvPr>
            <p:custDataLst>
              <p:tags r:id="rId71"/>
            </p:custDataLst>
          </p:nvPr>
        </p:nvSpPr>
        <p:spPr bwMode="gray">
          <a:xfrm>
            <a:off x="2538413" y="5359400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292B79-5D48-4523-AD3F-3E08B86BF9D3}" type="datetime'''''''5''''''3''''''''''''''%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53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0" name="矩形 49"/>
          <p:cNvSpPr/>
          <p:nvPr>
            <p:custDataLst>
              <p:tags r:id="rId72"/>
            </p:custDataLst>
          </p:nvPr>
        </p:nvSpPr>
        <p:spPr bwMode="gray">
          <a:xfrm>
            <a:off x="2538413" y="4859338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4410BE-FF7A-407E-8C97-5C0518C28558}" type="datetime'''''''''4''''7''''''''''''''''''''''''''''''''''%''''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47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692275" y="5767388"/>
            <a:ext cx="2540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CECF4797-FA12-4554-9E7E-FA2535E5062B}" type="datetime'''''''Ju''''''''''''''''''''''''''''''''''n'''''''">
              <a:rPr lang="en-US" altLang="en-US" sz="1100">
                <a:solidFill>
                  <a:srgbClr val="505050"/>
                </a:solidFill>
              </a:rPr>
              <a:pPr/>
              <a:t>Jun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27" name="Rectangle 26"/>
          <p:cNvSpPr/>
          <p:nvPr>
            <p:custDataLst>
              <p:tags r:id="rId74"/>
            </p:custDataLst>
          </p:nvPr>
        </p:nvSpPr>
        <p:spPr bwMode="gray">
          <a:xfrm>
            <a:off x="1690688" y="4443413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07D09AB0-04CA-4367-8B06-B75B07552B0E}" type="datetime'''''''''''''''''''''''''''''''''3''''''''''''''1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1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5" name="矩形 44"/>
          <p:cNvSpPr/>
          <p:nvPr>
            <p:custDataLst>
              <p:tags r:id="rId75"/>
            </p:custDataLst>
          </p:nvPr>
        </p:nvSpPr>
        <p:spPr bwMode="gray">
          <a:xfrm>
            <a:off x="1685925" y="5307013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E799F1-80D0-4E17-9F21-F243AD6BC123}" type="datetime'''''''''''''''''''''''''6''''''''''''''''''3''''''''''%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63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矩形 45"/>
          <p:cNvSpPr/>
          <p:nvPr>
            <p:custDataLst>
              <p:tags r:id="rId76"/>
            </p:custDataLst>
          </p:nvPr>
        </p:nvSpPr>
        <p:spPr bwMode="gray">
          <a:xfrm>
            <a:off x="1685925" y="4797425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337711-F767-4210-B73F-DADB2A8C2992}" type="datetime'''3''''7%''''''''''''''''''''''''''''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7%</a:t>
            </a:fld>
            <a:endParaRPr lang="zh-CN" altLang="en-US" sz="80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819150" y="5767388"/>
            <a:ext cx="2968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8227">
              <a:spcBef>
                <a:spcPct val="0"/>
              </a:spcBef>
              <a:spcAft>
                <a:spcPct val="0"/>
              </a:spcAft>
              <a:buNone/>
            </a:pPr>
            <a:fld id="{D42BD5A3-D239-4D7F-AA44-7D2545517AE2}" type="datetime'''''''''''''''M''''''''''''''ay'''''''''''''''''''''''''''''''">
              <a:rPr lang="en-US" altLang="en-US" sz="1100">
                <a:solidFill>
                  <a:srgbClr val="505050"/>
                </a:solidFill>
              </a:rPr>
              <a:pPr/>
              <a:t>May</a:t>
            </a:fld>
            <a:endParaRPr lang="en-US" sz="11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26" name="Rectangle 25"/>
          <p:cNvSpPr/>
          <p:nvPr>
            <p:custDataLst>
              <p:tags r:id="rId78"/>
            </p:custDataLst>
          </p:nvPr>
        </p:nvSpPr>
        <p:spPr bwMode="gray">
          <a:xfrm>
            <a:off x="838200" y="4538663"/>
            <a:ext cx="257175" cy="1984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3282" tIns="0" rIns="23282" bIns="0" rtlCol="0" anchor="b"/>
          <a:lstStyle/>
          <a:p>
            <a:pPr algn="ctr" defTabSz="1216620">
              <a:spcBef>
                <a:spcPct val="0"/>
              </a:spcBef>
              <a:spcAft>
                <a:spcPct val="0"/>
              </a:spcAft>
            </a:pPr>
            <a:fld id="{2E9944BE-8D0A-4EB0-8A1C-0A725EBA9BB7}" type="datetime'''''''''''''2''''''''''''''''''''''''8'''''">
              <a:rPr lang="en-US" altLang="en-US" sz="13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28</a:t>
            </a:fld>
            <a:endParaRPr lang="en-US" sz="1300" kern="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3" name="矩形 42"/>
          <p:cNvSpPr/>
          <p:nvPr>
            <p:custDataLst>
              <p:tags r:id="rId79"/>
            </p:custDataLst>
          </p:nvPr>
        </p:nvSpPr>
        <p:spPr bwMode="gray">
          <a:xfrm>
            <a:off x="833438" y="5340350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9357A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60509A-422B-4956-AA1E-74EE7FE37DC9}" type="datetime'6''''''''''''1''''''''''''%'''''''">
              <a:rPr lang="zh-CN" altLang="en-US" sz="800">
                <a:solidFill>
                  <a:schemeClr val="bg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61%</a:t>
            </a:fld>
            <a:endParaRPr lang="zh-CN" altLang="en-US" sz="80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矩形 43"/>
          <p:cNvSpPr/>
          <p:nvPr>
            <p:custDataLst>
              <p:tags r:id="rId80"/>
            </p:custDataLst>
          </p:nvPr>
        </p:nvSpPr>
        <p:spPr bwMode="gray">
          <a:xfrm>
            <a:off x="833438" y="4878388"/>
            <a:ext cx="268288" cy="12223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1CB5E8-853F-4FB7-B74A-F492807F4545}" type="datetime'3''9''''''''''''''''''''''''''''''''''%'''''''''''''''''">
              <a:rPr lang="zh-CN" altLang="en-US" sz="800">
                <a:solidFill>
                  <a:schemeClr val="tx1"/>
                </a:solidFill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9%</a:t>
            </a:fld>
            <a:endParaRPr lang="zh-CN" altLang="en-US" sz="8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9" name="椭圆 321"/>
          <p:cNvSpPr/>
          <p:nvPr/>
        </p:nvSpPr>
        <p:spPr>
          <a:xfrm>
            <a:off x="4448390" y="1871172"/>
            <a:ext cx="823014" cy="345015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300" b="1" kern="0" dirty="0">
                <a:solidFill>
                  <a:prstClr val="white"/>
                </a:solidFill>
              </a:rPr>
              <a:t>-8</a:t>
            </a:r>
            <a:endParaRPr lang="zh-CN" altLang="en-US" sz="1300" b="1" kern="0" dirty="0">
              <a:solidFill>
                <a:prstClr val="white"/>
              </a:solidFill>
            </a:endParaRPr>
          </a:p>
        </p:txBody>
      </p:sp>
      <p:sp>
        <p:nvSpPr>
          <p:cNvPr id="60" name="TextBox 78"/>
          <p:cNvSpPr txBox="1">
            <a:spLocks noChangeArrowheads="1"/>
          </p:cNvSpPr>
          <p:nvPr/>
        </p:nvSpPr>
        <p:spPr bwMode="auto">
          <a:xfrm>
            <a:off x="4312905" y="1438680"/>
            <a:ext cx="1151467" cy="297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672" tIns="60837" rIns="121672" bIns="60837" anchor="ctr"/>
          <a:lstStyle/>
          <a:p>
            <a:pPr marL="190114" indent="-190114" algn="ctr" defTabSz="121647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u="sng" kern="0" dirty="0">
                <a:solidFill>
                  <a:srgbClr val="000000"/>
                </a:solidFill>
              </a:rPr>
              <a:t>GR%</a:t>
            </a:r>
            <a:endParaRPr lang="zh-CN" altLang="en-US" sz="1600" u="sng" kern="0" dirty="0">
              <a:solidFill>
                <a:srgbClr val="000000"/>
              </a:solidFill>
            </a:endParaRPr>
          </a:p>
        </p:txBody>
      </p:sp>
      <p:sp>
        <p:nvSpPr>
          <p:cNvPr id="63" name="椭圆 321"/>
          <p:cNvSpPr/>
          <p:nvPr/>
        </p:nvSpPr>
        <p:spPr>
          <a:xfrm>
            <a:off x="5388171" y="1866956"/>
            <a:ext cx="768000" cy="345015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300" b="1" kern="0" dirty="0">
                <a:solidFill>
                  <a:prstClr val="white"/>
                </a:solidFill>
              </a:rPr>
              <a:t>94</a:t>
            </a:r>
            <a:endParaRPr lang="zh-CN" altLang="en-US" sz="1300" b="1" kern="0" dirty="0">
              <a:solidFill>
                <a:prstClr val="white"/>
              </a:solidFill>
            </a:endParaRPr>
          </a:p>
        </p:txBody>
      </p:sp>
      <p:sp>
        <p:nvSpPr>
          <p:cNvPr id="64" name="TextBox 78"/>
          <p:cNvSpPr txBox="1">
            <a:spLocks noChangeArrowheads="1"/>
          </p:cNvSpPr>
          <p:nvPr/>
        </p:nvSpPr>
        <p:spPr bwMode="auto">
          <a:xfrm>
            <a:off x="5195553" y="1438680"/>
            <a:ext cx="1151467" cy="297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672" tIns="60837" rIns="121672" bIns="60837" anchor="ctr"/>
          <a:lstStyle/>
          <a:p>
            <a:pPr marL="190114" indent="-190114" algn="ctr" defTabSz="121647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u="sng" kern="0" dirty="0">
                <a:solidFill>
                  <a:srgbClr val="000000"/>
                </a:solidFill>
              </a:rPr>
              <a:t>EI</a:t>
            </a:r>
            <a:endParaRPr lang="zh-CN" altLang="en-US" sz="1600" u="sng" kern="0" dirty="0">
              <a:solidFill>
                <a:srgbClr val="000000"/>
              </a:solidFill>
            </a:endParaRP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976099220"/>
              </p:ext>
            </p:extLst>
          </p:nvPr>
        </p:nvGraphicFramePr>
        <p:xfrm>
          <a:off x="1295400" y="1676400"/>
          <a:ext cx="1419132" cy="1609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Chart" r:id="rId103" imgW="1419132" imgH="1609661" progId="MSGraph.Chart.8">
                  <p:embed followColorScheme="full"/>
                </p:oleObj>
              </mc:Choice>
              <mc:Fallback>
                <p:oleObj name="Chart" r:id="rId103" imgW="1419132" imgH="1609661" progId="MSGraph.Chart.8">
                  <p:embed followColorScheme="full"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104"/>
                      <a:stretch>
                        <a:fillRect/>
                      </a:stretch>
                    </p:blipFill>
                    <p:spPr>
                      <a:xfrm>
                        <a:off x="1295400" y="1676400"/>
                        <a:ext cx="1419132" cy="1609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2635250" y="1825625"/>
            <a:ext cx="42227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3282" tIns="0" rIns="2328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9A4FC679-F102-465B-9F02-ADA18BED2328}" type="datetime'''''''''''''''''''''4''''9''''''.''''''1'''''''''''''''''''''">
              <a:rPr lang="en-US" altLang="en-US" sz="1300">
                <a:solidFill>
                  <a:srgbClr val="505050"/>
                </a:solidFill>
              </a:rPr>
              <a:pPr/>
              <a:t>49.1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555625" y="1906588"/>
            <a:ext cx="7874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08227">
              <a:spcBef>
                <a:spcPct val="0"/>
              </a:spcBef>
              <a:spcAft>
                <a:spcPct val="0"/>
              </a:spcAft>
              <a:buNone/>
            </a:pPr>
            <a:fld id="{5050A78D-2245-4589-A443-990544010B52}" type="datetime'''''S''''''''''''''''pora''''''''''n''o''''''''x'">
              <a:rPr lang="en-US" altLang="en-US" sz="1300">
                <a:solidFill>
                  <a:srgbClr val="505050"/>
                </a:solidFill>
              </a:rPr>
              <a:pPr marL="0" indent="0" algn="r" defTabSz="608227">
                <a:spcBef>
                  <a:spcPct val="0"/>
                </a:spcBef>
                <a:spcAft>
                  <a:spcPct val="0"/>
                </a:spcAft>
                <a:buNone/>
              </a:pPr>
              <a:t>Sporanox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2568575" y="1992313"/>
            <a:ext cx="42227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3282" tIns="0" rIns="2328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71FC72C3-A22F-4E29-856D-BDEF8828997C}" type="datetime'''''''4''''''''''''''''6''''.''''''''''2'''''">
              <a:rPr lang="en-US" altLang="en-US" sz="1300">
                <a:solidFill>
                  <a:srgbClr val="505050"/>
                </a:solidFill>
              </a:rPr>
              <a:pPr/>
              <a:t>46.2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1892300" y="2463800"/>
            <a:ext cx="42227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282" tIns="0" rIns="2328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AF24ED4E-82F3-463F-B0FE-2347058C08DB}" type="datetime'''''''1''''''''8.''3'''">
              <a:rPr lang="en-US" altLang="en-US" sz="1300">
                <a:solidFill>
                  <a:srgbClr val="505050"/>
                </a:solidFill>
              </a:rPr>
              <a:pPr/>
              <a:t>18.3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1854200" y="2292350"/>
            <a:ext cx="42227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282" tIns="0" rIns="2328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FD46B923-4778-4363-8CC8-7822B0D33750}" type="datetime'''''1''''''''''''''''''''7.''''''''''''''''0'''''">
              <a:rPr lang="en-US" altLang="en-US" sz="1300">
                <a:solidFill>
                  <a:srgbClr val="505050"/>
                </a:solidFill>
              </a:rPr>
              <a:pPr/>
              <a:t>17.0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481013" y="2849563"/>
            <a:ext cx="86201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08227">
              <a:spcBef>
                <a:spcPct val="0"/>
              </a:spcBef>
              <a:spcAft>
                <a:spcPct val="0"/>
              </a:spcAft>
              <a:buNone/>
            </a:pPr>
            <a:fld id="{ABC953B8-FD4E-45FC-8999-E720861E3054}" type="datetime'''Y''''i'' ''''''''''''Q''''''''''''''''''''i ''K''''ang'''''">
              <a:rPr lang="en-US" altLang="en-US" sz="1300">
                <a:solidFill>
                  <a:srgbClr val="505050"/>
                </a:solidFill>
              </a:rPr>
              <a:pPr marL="0" indent="0" algn="r" defTabSz="608227">
                <a:spcBef>
                  <a:spcPct val="0"/>
                </a:spcBef>
                <a:spcAft>
                  <a:spcPct val="0"/>
                </a:spcAft>
                <a:buNone/>
              </a:pPr>
              <a:t>Yi Qi Kang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587500" y="2935288"/>
            <a:ext cx="3175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ctr" anchorCtr="0">
            <a:noAutofit/>
          </a:bodyPr>
          <a:lstStyle>
            <a:lvl1pPr marL="456183" indent="-456183" algn="l" defTabSz="608243" rtl="0" eaLnBrk="1" latinLnBrk="0" hangingPunct="1">
              <a:spcBef>
                <a:spcPct val="20000"/>
              </a:spcBef>
              <a:buFont typeface="Wingdings" charset="2"/>
              <a:buChar char="§"/>
              <a:defRPr sz="27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88558" indent="-380206" algn="l" defTabSz="608243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0771" indent="-304120" algn="l" defTabSz="608243" rtl="0" eaLnBrk="1" latinLnBrk="0" hangingPunct="1">
              <a:spcBef>
                <a:spcPct val="20000"/>
              </a:spcBef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29067" indent="-304120" algn="l" defTabSz="608243" rtl="0" eaLnBrk="1" latinLnBrk="0" hangingPunct="1">
              <a:spcBef>
                <a:spcPct val="20000"/>
              </a:spcBef>
              <a:buFont typeface="Arial"/>
              <a:buChar char="–"/>
              <a:defRPr sz="13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37418" indent="-304120" algn="l" defTabSz="608243" rtl="0" eaLnBrk="1" latinLnBrk="0" hangingPunct="1">
              <a:spcBef>
                <a:spcPct val="20000"/>
              </a:spcBef>
              <a:buFont typeface="Arial"/>
              <a:buChar char="»"/>
              <a:defRPr sz="27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45660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4013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2311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0607" indent="-304120" algn="l" defTabSz="60824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EC48ED-48D6-4803-8EA9-B9452205D8DE}" type="datetime'''''''''''5''''''''.''''''9'''''''''''''''''">
              <a:rPr lang="en-US" altLang="en-US" sz="1300"/>
              <a:pPr/>
              <a:t>5.9</a:t>
            </a:fld>
            <a:endParaRPr lang="en-US" altLang="zh-CN" sz="1300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1587500" y="2768600"/>
            <a:ext cx="3175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282" tIns="0" rIns="23282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E9BAD22B-42AA-4820-9013-01F4474BB8D4}" type="datetime'''''''''''''''''''''''''''''''''''''''''5''.''''7'''''">
              <a:rPr lang="en-US" altLang="en-US" sz="1300">
                <a:solidFill>
                  <a:srgbClr val="505050"/>
                </a:solidFill>
              </a:rPr>
              <a:pPr/>
              <a:t>5.7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690563" y="2378075"/>
            <a:ext cx="65246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08227">
              <a:spcBef>
                <a:spcPct val="0"/>
              </a:spcBef>
              <a:spcAft>
                <a:spcPct val="0"/>
              </a:spcAft>
              <a:buNone/>
            </a:pPr>
            <a:fld id="{C45F6413-D93B-4D88-8D0A-0AD42D87CB3A}" type="datetime'''''D''i''''ng'''''''''''''''''''''''' ''K''''''''''''''e'">
              <a:rPr lang="en-US" altLang="en-US" sz="1300">
                <a:solidFill>
                  <a:srgbClr val="505050"/>
                </a:solidFill>
              </a:rPr>
              <a:pPr marL="0" indent="0" algn="r" defTabSz="608227">
                <a:spcBef>
                  <a:spcPct val="0"/>
                </a:spcBef>
                <a:spcAft>
                  <a:spcPct val="0"/>
                </a:spcAft>
                <a:buNone/>
              </a:pPr>
              <a:t>Ding Ke</a:t>
            </a:fld>
            <a:endParaRPr lang="en-US" sz="1300" dirty="0">
              <a:solidFill>
                <a:srgbClr val="505050"/>
              </a:solidFill>
              <a:sym typeface="Verdana"/>
            </a:endParaRPr>
          </a:p>
        </p:txBody>
      </p:sp>
      <p:sp>
        <p:nvSpPr>
          <p:cNvPr id="95" name="TextBox 78"/>
          <p:cNvSpPr txBox="1">
            <a:spLocks noChangeArrowheads="1"/>
          </p:cNvSpPr>
          <p:nvPr/>
        </p:nvSpPr>
        <p:spPr bwMode="auto">
          <a:xfrm>
            <a:off x="3177489" y="1395931"/>
            <a:ext cx="1444131" cy="383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672" tIns="60837" rIns="121672" bIns="60837" anchor="ctr"/>
          <a:lstStyle/>
          <a:p>
            <a:pPr marL="190114" indent="-190114" algn="ctr" defTabSz="121647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u="sng" kern="0" dirty="0">
                <a:solidFill>
                  <a:srgbClr val="000000"/>
                </a:solidFill>
              </a:rPr>
              <a:t>Share Change</a:t>
            </a:r>
            <a:endParaRPr lang="zh-CN" altLang="en-US" sz="1600" u="sng" kern="0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>
            <p:custDataLst>
              <p:tags r:id="rId91"/>
            </p:custDataLst>
          </p:nvPr>
        </p:nvSpPr>
        <p:spPr bwMode="auto">
          <a:xfrm>
            <a:off x="4054475" y="3978275"/>
            <a:ext cx="196850" cy="147638"/>
          </a:xfrm>
          <a:prstGeom prst="rect">
            <a:avLst/>
          </a:prstGeom>
          <a:solidFill>
            <a:srgbClr val="09357A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74" tIns="45718" rIns="91274" bIns="45718" rtlCol="0" anchor="ctr"/>
          <a:lstStyle/>
          <a:p>
            <a:pPr algn="ctr" defTabSz="1216620"/>
            <a:endParaRPr lang="en-US" sz="3200" kern="0" dirty="0">
              <a:solidFill>
                <a:sysClr val="windowText" lastClr="000000"/>
              </a:solidFill>
            </a:endParaRPr>
          </a:p>
        </p:txBody>
      </p:sp>
      <p:sp>
        <p:nvSpPr>
          <p:cNvPr id="69990" name="Rectangle 69989"/>
          <p:cNvSpPr/>
          <p:nvPr>
            <p:custDataLst>
              <p:tags r:id="rId92"/>
            </p:custDataLst>
          </p:nvPr>
        </p:nvSpPr>
        <p:spPr bwMode="auto">
          <a:xfrm>
            <a:off x="2801938" y="3978275"/>
            <a:ext cx="196850" cy="147638"/>
          </a:xfrm>
          <a:prstGeom prst="rect">
            <a:avLst/>
          </a:prstGeom>
          <a:solidFill>
            <a:srgbClr val="D6D7D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74" tIns="45718" rIns="91274" bIns="45718" rtlCol="0" anchor="ctr"/>
          <a:lstStyle/>
          <a:p>
            <a:pPr algn="ctr" defTabSz="1216620"/>
            <a:endParaRPr lang="en-US" sz="3200" kern="0" dirty="0">
              <a:solidFill>
                <a:sysClr val="windowText" lastClr="000000"/>
              </a:solidFill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3049588" y="3973513"/>
            <a:ext cx="9032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5D8EDD0D-1949-4837-9600-CC9B86696F10}" type="datetime'''''''''''''N''''o''''n'''''' ''C''''ove''''r''''e''''''''d'">
              <a:rPr lang="en-US" altLang="en-US" sz="1100"/>
              <a:pPr marL="0" indent="0" defTabSz="608227">
                <a:spcBef>
                  <a:spcPct val="0"/>
                </a:spcBef>
                <a:spcAft>
                  <a:spcPct val="0"/>
                </a:spcAft>
                <a:buNone/>
              </a:pPr>
              <a:t>Non Covered</a:t>
            </a:fld>
            <a:endParaRPr lang="en-US" sz="1100" dirty="0">
              <a:sym typeface="Verdana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4302125" y="3973513"/>
            <a:ext cx="5762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8227">
              <a:spcBef>
                <a:spcPct val="0"/>
              </a:spcBef>
              <a:spcAft>
                <a:spcPct val="0"/>
              </a:spcAft>
              <a:buNone/>
            </a:pPr>
            <a:fld id="{E9F3B8F8-C34C-4DF9-861C-11EF05662DBD}" type="datetime'''''''Co''''''''ve''''re''''''''''''''''d'''''''''''''''''">
              <a:rPr lang="en-US" altLang="en-US" sz="1100">
                <a:sym typeface="Verdana"/>
              </a:rPr>
              <a:pPr marL="0" indent="0" defTabSz="608227">
                <a:spcBef>
                  <a:spcPct val="0"/>
                </a:spcBef>
                <a:spcAft>
                  <a:spcPct val="0"/>
                </a:spcAft>
                <a:buNone/>
              </a:pPr>
              <a:t>Covered</a:t>
            </a:fld>
            <a:endParaRPr lang="en-US" sz="1100" dirty="0">
              <a:sym typeface="Verdana"/>
            </a:endParaRPr>
          </a:p>
        </p:txBody>
      </p:sp>
      <p:sp>
        <p:nvSpPr>
          <p:cNvPr id="127" name="Line 30"/>
          <p:cNvSpPr>
            <a:spLocks noChangeShapeType="1"/>
          </p:cNvSpPr>
          <p:nvPr/>
        </p:nvSpPr>
        <p:spPr bwMode="gray">
          <a:xfrm>
            <a:off x="0" y="1066972"/>
            <a:ext cx="12192000" cy="0"/>
          </a:xfrm>
          <a:prstGeom prst="line">
            <a:avLst/>
          </a:prstGeom>
          <a:noFill/>
          <a:ln w="9525">
            <a:solidFill>
              <a:schemeClr val="accent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7370" tIns="97370" rIns="97370" bIns="97370" anchor="ctr">
            <a:noAutofit/>
          </a:bodyPr>
          <a:lstStyle/>
          <a:p>
            <a:pPr defTabSz="1216620"/>
            <a:endParaRPr lang="en-US" sz="3200" kern="0" dirty="0">
              <a:solidFill>
                <a:sysClr val="windowText" lastClr="000000"/>
              </a:solidFill>
            </a:endParaRPr>
          </a:p>
        </p:txBody>
      </p:sp>
      <p:sp>
        <p:nvSpPr>
          <p:cNvPr id="129" name="Line 48"/>
          <p:cNvSpPr>
            <a:spLocks noChangeShapeType="1"/>
          </p:cNvSpPr>
          <p:nvPr/>
        </p:nvSpPr>
        <p:spPr bwMode="auto">
          <a:xfrm>
            <a:off x="6493833" y="1066973"/>
            <a:ext cx="0" cy="2748050"/>
          </a:xfrm>
          <a:prstGeom prst="line">
            <a:avLst/>
          </a:prstGeom>
          <a:noFill/>
          <a:ln w="6350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1274" tIns="45718" rIns="91274" bIns="45718"/>
          <a:lstStyle/>
          <a:p>
            <a:pPr defTabSz="1216620"/>
            <a:endParaRPr lang="zh-CN" altLang="en-US" sz="3200" kern="0">
              <a:solidFill>
                <a:sysClr val="windowText" lastClr="000000"/>
              </a:solidFill>
            </a:endParaRPr>
          </a:p>
        </p:txBody>
      </p:sp>
      <p:sp>
        <p:nvSpPr>
          <p:cNvPr id="130" name="Line 48"/>
          <p:cNvSpPr>
            <a:spLocks noChangeShapeType="1"/>
          </p:cNvSpPr>
          <p:nvPr/>
        </p:nvSpPr>
        <p:spPr bwMode="auto">
          <a:xfrm>
            <a:off x="8744" y="3867000"/>
            <a:ext cx="12183256" cy="0"/>
          </a:xfrm>
          <a:prstGeom prst="line">
            <a:avLst/>
          </a:prstGeom>
          <a:noFill/>
          <a:ln w="6350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lIns="91274" tIns="45718" rIns="91274" bIns="45718"/>
          <a:lstStyle/>
          <a:p>
            <a:pPr defTabSz="1216620"/>
            <a:endParaRPr lang="zh-CN" altLang="en-US" sz="3200" kern="0">
              <a:solidFill>
                <a:sysClr val="windowText" lastClr="000000"/>
              </a:solidFill>
            </a:endParaRPr>
          </a:p>
        </p:txBody>
      </p:sp>
      <p:sp>
        <p:nvSpPr>
          <p:cNvPr id="132" name="Rectangle 90"/>
          <p:cNvSpPr>
            <a:spLocks noChangeArrowheads="1"/>
          </p:cNvSpPr>
          <p:nvPr>
            <p:custDataLst>
              <p:tags r:id="rId95"/>
            </p:custDataLst>
          </p:nvPr>
        </p:nvSpPr>
        <p:spPr bwMode="gray">
          <a:xfrm>
            <a:off x="578276" y="1040127"/>
            <a:ext cx="4903783" cy="454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1216620"/>
            <a:r>
              <a:rPr lang="en-US" sz="1600" b="1" kern="0" dirty="0">
                <a:solidFill>
                  <a:srgbClr val="2A8EBF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rket Dynamic</a:t>
            </a:r>
            <a:endParaRPr lang="en-US" sz="1600" b="1" kern="0" dirty="0">
              <a:solidFill>
                <a:srgbClr val="09357A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90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578272" y="3815023"/>
            <a:ext cx="3048000" cy="454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1216620"/>
            <a:r>
              <a:rPr lang="en-US" sz="1600" b="1" kern="0" dirty="0">
                <a:solidFill>
                  <a:schemeClr val="accent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1 Sell Out, Mil RMB</a:t>
            </a:r>
            <a:endParaRPr lang="en-US" sz="1600" b="1" kern="0" dirty="0">
              <a:solidFill>
                <a:schemeClr val="accent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Rectangle 90"/>
          <p:cNvSpPr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6641476" y="1044373"/>
            <a:ext cx="4903783" cy="445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1216620"/>
            <a:r>
              <a:rPr lang="en-US" sz="1600" b="1" kern="0" dirty="0">
                <a:solidFill>
                  <a:schemeClr val="accent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ustomer Facing Activity</a:t>
            </a:r>
          </a:p>
        </p:txBody>
      </p:sp>
      <p:sp>
        <p:nvSpPr>
          <p:cNvPr id="138" name="矩形 15"/>
          <p:cNvSpPr/>
          <p:nvPr/>
        </p:nvSpPr>
        <p:spPr>
          <a:xfrm>
            <a:off x="10619137" y="-7020"/>
            <a:ext cx="1572867" cy="338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lIns="91274" tIns="45718" rIns="91274" bIns="45718">
            <a:spAutoFit/>
          </a:bodyPr>
          <a:lstStyle/>
          <a:p>
            <a:pPr algn="r" defTabSz="1216620">
              <a:defRPr/>
            </a:pPr>
            <a:r>
              <a:rPr lang="en-US" sz="1600" b="1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ranox Cap</a:t>
            </a:r>
            <a:endParaRPr lang="en-US" sz="1600" b="1" i="1" kern="0" dirty="0">
              <a:solidFill>
                <a:schemeClr val="bg1"/>
              </a:solidFill>
            </a:endParaRPr>
          </a:p>
        </p:txBody>
      </p:sp>
      <p:sp>
        <p:nvSpPr>
          <p:cNvPr id="139" name="Slide Number Placeholder 5"/>
          <p:cNvSpPr txBox="1">
            <a:spLocks/>
          </p:cNvSpPr>
          <p:nvPr/>
        </p:nvSpPr>
        <p:spPr>
          <a:xfrm>
            <a:off x="11309337" y="6540445"/>
            <a:ext cx="694899" cy="279779"/>
          </a:xfrm>
          <a:prstGeom prst="rect">
            <a:avLst/>
          </a:prstGeom>
        </p:spPr>
        <p:txBody>
          <a:bodyPr vert="horz" lIns="121698" tIns="60849" rIns="121698" bIns="60849" rtlCol="0" anchor="ctr"/>
          <a:lstStyle>
            <a:defPPr>
              <a:defRPr lang="en-US"/>
            </a:defPPr>
            <a:lvl1pPr marL="0" algn="r" defTabSz="914291" rtl="0" eaLnBrk="1" latinLnBrk="0" hangingPunct="1"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anose="020B0604030504040204" pitchFamily="34" charset="0"/>
              </a:defRPr>
            </a:lvl1pPr>
            <a:lvl2pPr marL="457146" algn="l" defTabSz="9142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1" algn="l" defTabSz="9142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8" algn="l" defTabSz="9142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84" algn="l" defTabSz="9142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29" algn="l" defTabSz="9142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75" algn="l" defTabSz="9142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21" algn="l" defTabSz="9142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67" algn="l" defTabSz="91429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6444">
              <a:defRPr/>
            </a:pPr>
            <a:fld id="{2D0A6E06-DA15-4ACC-9EC7-D4C6726FC2A1}" type="slidenum">
              <a:rPr lang="zh-CN" altLang="en-US">
                <a:solidFill>
                  <a:schemeClr val="bg1"/>
                </a:solidFill>
              </a:rPr>
              <a:pPr defTabSz="1216444">
                <a:defRPr/>
              </a:pPr>
              <a:t>1</a:t>
            </a:fld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493727" y="5875956"/>
            <a:ext cx="704849" cy="261608"/>
          </a:xfrm>
          <a:prstGeom prst="rect">
            <a:avLst/>
          </a:prstGeom>
          <a:noFill/>
        </p:spPr>
        <p:txBody>
          <a:bodyPr wrap="square" lIns="91274" tIns="45718" rIns="91274" bIns="45718" rtlCol="0">
            <a:spAutoFit/>
          </a:bodyPr>
          <a:lstStyle/>
          <a:p>
            <a:pPr defTabSz="1216620"/>
            <a:r>
              <a:rPr lang="en-US" sz="1100" kern="0" dirty="0">
                <a:solidFill>
                  <a:srgbClr val="505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6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5000737" y="5875956"/>
            <a:ext cx="704849" cy="261608"/>
          </a:xfrm>
          <a:prstGeom prst="rect">
            <a:avLst/>
          </a:prstGeom>
          <a:noFill/>
        </p:spPr>
        <p:txBody>
          <a:bodyPr wrap="square" lIns="91274" tIns="45718" rIns="91274" bIns="45718" rtlCol="0">
            <a:spAutoFit/>
          </a:bodyPr>
          <a:lstStyle/>
          <a:p>
            <a:pPr defTabSz="1216620"/>
            <a:r>
              <a:rPr lang="en-US" sz="1100" kern="0" dirty="0">
                <a:solidFill>
                  <a:srgbClr val="505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7</a:t>
            </a:r>
          </a:p>
        </p:txBody>
      </p:sp>
      <p:sp>
        <p:nvSpPr>
          <p:cNvPr id="153" name="Rectangle 152"/>
          <p:cNvSpPr/>
          <p:nvPr/>
        </p:nvSpPr>
        <p:spPr>
          <a:xfrm>
            <a:off x="213787" y="1778091"/>
            <a:ext cx="6133236" cy="452967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74" tIns="45718" rIns="91274" bIns="45718" rtlCol="0" anchor="ctr"/>
          <a:lstStyle/>
          <a:p>
            <a:pPr algn="ctr" defTabSz="1216474"/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161" name="TextBox 40"/>
          <p:cNvSpPr txBox="1"/>
          <p:nvPr/>
        </p:nvSpPr>
        <p:spPr>
          <a:xfrm>
            <a:off x="265332" y="6243584"/>
            <a:ext cx="8441359" cy="292384"/>
          </a:xfrm>
          <a:prstGeom prst="rect">
            <a:avLst/>
          </a:prstGeom>
          <a:noFill/>
        </p:spPr>
        <p:txBody>
          <a:bodyPr wrap="square" lIns="91274" tIns="45718" rIns="91274" bIns="45718" rtlCol="0">
            <a:spAutoFit/>
          </a:bodyPr>
          <a:lstStyle/>
          <a:p>
            <a:pPr marL="0" marR="0" lvl="0" indent="0" defTabSz="12166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Data source: IMS CHPA Feb 2017</a:t>
            </a:r>
          </a:p>
        </p:txBody>
      </p:sp>
      <p:sp>
        <p:nvSpPr>
          <p:cNvPr id="158" name="椭圆 321"/>
          <p:cNvSpPr/>
          <p:nvPr/>
        </p:nvSpPr>
        <p:spPr>
          <a:xfrm>
            <a:off x="3533580" y="2291303"/>
            <a:ext cx="768000" cy="345015"/>
          </a:xfrm>
          <a:prstGeom prst="ellipse">
            <a:avLst/>
          </a:prstGeom>
          <a:solidFill>
            <a:srgbClr val="237D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300" b="1" kern="0" dirty="0">
                <a:solidFill>
                  <a:prstClr val="white"/>
                </a:solidFill>
              </a:rPr>
              <a:t>6</a:t>
            </a:r>
            <a:endParaRPr lang="zh-CN" altLang="en-US" sz="1300" b="1" kern="0" dirty="0">
              <a:solidFill>
                <a:prstClr val="white"/>
              </a:solidFill>
            </a:endParaRPr>
          </a:p>
        </p:txBody>
      </p:sp>
      <p:sp>
        <p:nvSpPr>
          <p:cNvPr id="159" name="椭圆 321"/>
          <p:cNvSpPr/>
          <p:nvPr/>
        </p:nvSpPr>
        <p:spPr>
          <a:xfrm>
            <a:off x="3533580" y="2725221"/>
            <a:ext cx="768000" cy="345015"/>
          </a:xfrm>
          <a:prstGeom prst="ellipse">
            <a:avLst/>
          </a:prstGeom>
          <a:solidFill>
            <a:srgbClr val="237D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200" b="1" kern="0" dirty="0">
                <a:solidFill>
                  <a:prstClr val="white"/>
                </a:solidFill>
              </a:rPr>
              <a:t>1</a:t>
            </a:r>
            <a:endParaRPr lang="zh-CN" altLang="en-US" sz="1200" b="1" kern="0" dirty="0">
              <a:solidFill>
                <a:prstClr val="white"/>
              </a:solidFill>
            </a:endParaRPr>
          </a:p>
        </p:txBody>
      </p:sp>
      <p:sp>
        <p:nvSpPr>
          <p:cNvPr id="163" name="椭圆 321"/>
          <p:cNvSpPr/>
          <p:nvPr/>
        </p:nvSpPr>
        <p:spPr>
          <a:xfrm>
            <a:off x="3533580" y="1857312"/>
            <a:ext cx="768000" cy="345015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72" tIns="60837" rIns="121672" bIns="60837" anchor="ctr"/>
          <a:lstStyle/>
          <a:p>
            <a:pPr algn="ctr" defTabSz="1216474"/>
            <a:r>
              <a:rPr lang="en-US" altLang="zh-CN" sz="1300" b="1" kern="0" dirty="0">
                <a:solidFill>
                  <a:prstClr val="white"/>
                </a:solidFill>
              </a:rPr>
              <a:t>-3%</a:t>
            </a:r>
            <a:endParaRPr lang="zh-CN" altLang="en-US" sz="1300" b="1" kern="0" dirty="0">
              <a:solidFill>
                <a:prstClr val="white"/>
              </a:solidFill>
            </a:endParaRPr>
          </a:p>
        </p:txBody>
      </p:sp>
      <p:pic>
        <p:nvPicPr>
          <p:cNvPr id="69" name="图片 68"/>
          <p:cNvPicPr>
            <a:picLocks noChangeAspect="1"/>
          </p:cNvPicPr>
          <p:nvPr/>
        </p:nvPicPr>
        <p:blipFill>
          <a:blip r:embed="rId105"/>
          <a:stretch>
            <a:fillRect/>
          </a:stretch>
        </p:blipFill>
        <p:spPr>
          <a:xfrm>
            <a:off x="6591814" y="1698989"/>
            <a:ext cx="5442513" cy="889660"/>
          </a:xfrm>
          <a:prstGeom prst="rect">
            <a:avLst/>
          </a:prstGeom>
        </p:spPr>
      </p:pic>
      <p:pic>
        <p:nvPicPr>
          <p:cNvPr id="102" name="图片 101"/>
          <p:cNvPicPr>
            <a:picLocks noChangeAspect="1"/>
          </p:cNvPicPr>
          <p:nvPr/>
        </p:nvPicPr>
        <p:blipFill>
          <a:blip r:embed="rId106"/>
          <a:stretch>
            <a:fillRect/>
          </a:stretch>
        </p:blipFill>
        <p:spPr>
          <a:xfrm>
            <a:off x="6623667" y="2745812"/>
            <a:ext cx="5380569" cy="81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034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666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altLang="zh-CN" sz="12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4" name="梯形 93"/>
          <p:cNvSpPr/>
          <p:nvPr/>
        </p:nvSpPr>
        <p:spPr>
          <a:xfrm rot="16200000">
            <a:off x="3160937" y="3396801"/>
            <a:ext cx="4838404" cy="415071"/>
          </a:xfrm>
          <a:custGeom>
            <a:avLst/>
            <a:gdLst>
              <a:gd name="connsiteX0" fmla="*/ 0 w 4763101"/>
              <a:gd name="connsiteY0" fmla="*/ 1819276 h 1819276"/>
              <a:gd name="connsiteX1" fmla="*/ 2120475 w 4763101"/>
              <a:gd name="connsiteY1" fmla="*/ 0 h 1819276"/>
              <a:gd name="connsiteX2" fmla="*/ 2642626 w 4763101"/>
              <a:gd name="connsiteY2" fmla="*/ 0 h 1819276"/>
              <a:gd name="connsiteX3" fmla="*/ 4763101 w 4763101"/>
              <a:gd name="connsiteY3" fmla="*/ 1819276 h 1819276"/>
              <a:gd name="connsiteX4" fmla="*/ 0 w 4763101"/>
              <a:gd name="connsiteY4" fmla="*/ 1819276 h 1819276"/>
              <a:gd name="connsiteX0" fmla="*/ 0 w 4763101"/>
              <a:gd name="connsiteY0" fmla="*/ 1937610 h 1937610"/>
              <a:gd name="connsiteX1" fmla="*/ 2120475 w 4763101"/>
              <a:gd name="connsiteY1" fmla="*/ 118334 h 1937610"/>
              <a:gd name="connsiteX2" fmla="*/ 4761882 w 4763101"/>
              <a:gd name="connsiteY2" fmla="*/ 0 h 1937610"/>
              <a:gd name="connsiteX3" fmla="*/ 4763101 w 4763101"/>
              <a:gd name="connsiteY3" fmla="*/ 1937610 h 1937610"/>
              <a:gd name="connsiteX4" fmla="*/ 0 w 4763101"/>
              <a:gd name="connsiteY4" fmla="*/ 1937610 h 1937610"/>
              <a:gd name="connsiteX0" fmla="*/ 0 w 4763101"/>
              <a:gd name="connsiteY0" fmla="*/ 1937610 h 1937610"/>
              <a:gd name="connsiteX1" fmla="*/ 2464720 w 4763101"/>
              <a:gd name="connsiteY1" fmla="*/ 10760 h 1937610"/>
              <a:gd name="connsiteX2" fmla="*/ 4761882 w 4763101"/>
              <a:gd name="connsiteY2" fmla="*/ 0 h 1937610"/>
              <a:gd name="connsiteX3" fmla="*/ 4763101 w 4763101"/>
              <a:gd name="connsiteY3" fmla="*/ 1937610 h 1937610"/>
              <a:gd name="connsiteX4" fmla="*/ 0 w 4763101"/>
              <a:gd name="connsiteY4" fmla="*/ 1937610 h 1937610"/>
              <a:gd name="connsiteX0" fmla="*/ 0 w 4763101"/>
              <a:gd name="connsiteY0" fmla="*/ 1937610 h 1937610"/>
              <a:gd name="connsiteX1" fmla="*/ 2464720 w 4763101"/>
              <a:gd name="connsiteY1" fmla="*/ 10760 h 1937610"/>
              <a:gd name="connsiteX2" fmla="*/ 4761882 w 4763101"/>
              <a:gd name="connsiteY2" fmla="*/ 0 h 1937610"/>
              <a:gd name="connsiteX3" fmla="*/ 4763101 w 4763101"/>
              <a:gd name="connsiteY3" fmla="*/ 1937610 h 1937610"/>
              <a:gd name="connsiteX4" fmla="*/ 0 w 4763101"/>
              <a:gd name="connsiteY4" fmla="*/ 1937610 h 1937610"/>
              <a:gd name="connsiteX0" fmla="*/ 0 w 4795374"/>
              <a:gd name="connsiteY0" fmla="*/ 1937610 h 1948368"/>
              <a:gd name="connsiteX1" fmla="*/ 2464720 w 4795374"/>
              <a:gd name="connsiteY1" fmla="*/ 10760 h 1948368"/>
              <a:gd name="connsiteX2" fmla="*/ 4761882 w 4795374"/>
              <a:gd name="connsiteY2" fmla="*/ 0 h 1948368"/>
              <a:gd name="connsiteX3" fmla="*/ 4795374 w 4795374"/>
              <a:gd name="connsiteY3" fmla="*/ 1948368 h 1948368"/>
              <a:gd name="connsiteX4" fmla="*/ 0 w 4795374"/>
              <a:gd name="connsiteY4" fmla="*/ 1937610 h 1948368"/>
              <a:gd name="connsiteX0" fmla="*/ 0 w 4795374"/>
              <a:gd name="connsiteY0" fmla="*/ 1937610 h 1948368"/>
              <a:gd name="connsiteX1" fmla="*/ 2464720 w 4795374"/>
              <a:gd name="connsiteY1" fmla="*/ 10760 h 1948368"/>
              <a:gd name="connsiteX2" fmla="*/ 4794155 w 4795374"/>
              <a:gd name="connsiteY2" fmla="*/ 0 h 1948368"/>
              <a:gd name="connsiteX3" fmla="*/ 4795374 w 4795374"/>
              <a:gd name="connsiteY3" fmla="*/ 1948368 h 1948368"/>
              <a:gd name="connsiteX4" fmla="*/ 0 w 4795374"/>
              <a:gd name="connsiteY4" fmla="*/ 1937610 h 1948368"/>
              <a:gd name="connsiteX0" fmla="*/ 0 w 4838404"/>
              <a:gd name="connsiteY0" fmla="*/ 1937610 h 1937608"/>
              <a:gd name="connsiteX1" fmla="*/ 2464720 w 4838404"/>
              <a:gd name="connsiteY1" fmla="*/ 10760 h 1937608"/>
              <a:gd name="connsiteX2" fmla="*/ 4794155 w 4838404"/>
              <a:gd name="connsiteY2" fmla="*/ 0 h 1937608"/>
              <a:gd name="connsiteX3" fmla="*/ 4838404 w 4838404"/>
              <a:gd name="connsiteY3" fmla="*/ 1847933 h 1937608"/>
              <a:gd name="connsiteX4" fmla="*/ 0 w 4838404"/>
              <a:gd name="connsiteY4" fmla="*/ 1937610 h 1937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8404" h="1937608">
                <a:moveTo>
                  <a:pt x="0" y="1937610"/>
                </a:moveTo>
                <a:lnTo>
                  <a:pt x="2464720" y="10760"/>
                </a:lnTo>
                <a:lnTo>
                  <a:pt x="4794155" y="0"/>
                </a:lnTo>
                <a:cubicBezTo>
                  <a:pt x="4794561" y="645870"/>
                  <a:pt x="4837998" y="1202063"/>
                  <a:pt x="4838404" y="1847933"/>
                </a:cubicBezTo>
                <a:lnTo>
                  <a:pt x="0" y="1937610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accent1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2" name="组合 91"/>
          <p:cNvGrpSpPr/>
          <p:nvPr/>
        </p:nvGrpSpPr>
        <p:grpSpPr>
          <a:xfrm>
            <a:off x="5721795" y="1185134"/>
            <a:ext cx="6305300" cy="4774156"/>
            <a:chOff x="5581900" y="1228180"/>
            <a:chExt cx="4753478" cy="4774156"/>
          </a:xfrm>
        </p:grpSpPr>
        <p:sp>
          <p:nvSpPr>
            <p:cNvPr id="90" name="Rectangle 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5581900" y="1228212"/>
              <a:ext cx="4753478" cy="4774124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 algn="ctr">
              <a:solidFill>
                <a:srgbClr val="1E4C8B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1216650">
                <a:defRPr/>
              </a:pPr>
              <a:endParaRPr lang="en-US" sz="1200" kern="0" dirty="0">
                <a:solidFill>
                  <a:srgbClr val="505050"/>
                </a:solidFill>
              </a:endParaRPr>
            </a:p>
          </p:txBody>
        </p:sp>
        <p:sp>
          <p:nvSpPr>
            <p:cNvPr id="91" name="Rectangle 116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5581900" y="1228180"/>
              <a:ext cx="4753478" cy="475438"/>
            </a:xfrm>
            <a:prstGeom prst="rect">
              <a:avLst/>
            </a:prstGeom>
            <a:solidFill>
              <a:srgbClr val="1E4C8B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180000" defTabSz="1216650"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ginal Level Physician Perception in </a:t>
              </a:r>
              <a:r>
                <a:rPr lang="en-US" sz="1400" b="1" kern="0" dirty="0" err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erm</a:t>
              </a:r>
              <a:r>
                <a:rPr lang="en-US" sz="1400" b="1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department</a:t>
              </a:r>
            </a:p>
            <a:p>
              <a:pPr marL="180000" defTabSz="1216650"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# of Physician, Jul. 2016~May. 2017)</a:t>
              </a: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619124" y="1228165"/>
            <a:ext cx="4753478" cy="2348753"/>
            <a:chOff x="695324" y="1214368"/>
            <a:chExt cx="11149606" cy="5174919"/>
          </a:xfrm>
        </p:grpSpPr>
        <p:sp>
          <p:nvSpPr>
            <p:cNvPr id="47" name="Rectangle 7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95325" y="1214438"/>
              <a:ext cx="11149605" cy="5174849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 algn="ctr">
              <a:solidFill>
                <a:srgbClr val="1E4C8B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1216650">
                <a:defRPr/>
              </a:pPr>
              <a:endParaRPr lang="en-US" sz="1200" kern="0" dirty="0">
                <a:solidFill>
                  <a:srgbClr val="505050"/>
                </a:solidFill>
              </a:endParaRPr>
            </a:p>
          </p:txBody>
        </p:sp>
        <p:sp>
          <p:nvSpPr>
            <p:cNvPr id="48" name="Rectangle 11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695324" y="1214368"/>
              <a:ext cx="11149606" cy="1047515"/>
            </a:xfrm>
            <a:prstGeom prst="rect">
              <a:avLst/>
            </a:prstGeom>
            <a:solidFill>
              <a:srgbClr val="1E4C8B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180000" defTabSz="1216650"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arget Physician Perception Survey</a:t>
              </a:r>
            </a:p>
            <a:p>
              <a:pPr marL="180000" defTabSz="1216650"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# of Physician, Jul. 2016~May. 2017)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124" y="54972"/>
            <a:ext cx="10990479" cy="991363"/>
          </a:xfrm>
        </p:spPr>
        <p:txBody>
          <a:bodyPr>
            <a:noAutofit/>
          </a:bodyPr>
          <a:lstStyle/>
          <a:p>
            <a:r>
              <a:rPr lang="en-US" sz="2200" b="1" dirty="0"/>
              <a:t>The physician perception didn’t change in May for both top hospitals and all target hospital.</a:t>
            </a:r>
          </a:p>
        </p:txBody>
      </p:sp>
      <p:sp>
        <p:nvSpPr>
          <p:cNvPr id="25" name="矩形 24"/>
          <p:cNvSpPr/>
          <p:nvPr/>
        </p:nvSpPr>
        <p:spPr bwMode="auto">
          <a:xfrm>
            <a:off x="5827317" y="2752144"/>
            <a:ext cx="5667455" cy="5050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Target HCP Perception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475" y="2120107"/>
            <a:ext cx="543903" cy="543903"/>
          </a:xfrm>
          <a:prstGeom prst="rect">
            <a:avLst/>
          </a:prstGeom>
        </p:spPr>
      </p:pic>
      <p:sp>
        <p:nvSpPr>
          <p:cNvPr id="33" name="矩形 32"/>
          <p:cNvSpPr/>
          <p:nvPr/>
        </p:nvSpPr>
        <p:spPr bwMode="auto">
          <a:xfrm>
            <a:off x="6269542" y="1911227"/>
            <a:ext cx="5748410" cy="3364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vey #	    1.0	         2.0	             3.0	                 Avg.         Delta</a:t>
            </a:r>
          </a:p>
        </p:txBody>
      </p:sp>
      <p:graphicFrame>
        <p:nvGraphicFramePr>
          <p:cNvPr id="34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607717"/>
              </p:ext>
            </p:extLst>
          </p:nvPr>
        </p:nvGraphicFramePr>
        <p:xfrm>
          <a:off x="5824167" y="3353410"/>
          <a:ext cx="5670607" cy="1998460"/>
        </p:xfrm>
        <a:graphic>
          <a:graphicData uri="http://schemas.openxmlformats.org/drawingml/2006/table">
            <a:tbl>
              <a:tblPr/>
              <a:tblGrid>
                <a:gridCol w="627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49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49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73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198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9152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736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7360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6899">
                  <a:extLst>
                    <a:ext uri="{9D8B030D-6E8A-4147-A177-3AD203B41FA5}">
                      <a16:colId xmlns:a16="http://schemas.microsoft.com/office/drawing/2014/main" val="1468033942"/>
                    </a:ext>
                  </a:extLst>
                </a:gridCol>
              </a:tblGrid>
              <a:tr h="4123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C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7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0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3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0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4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C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OC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4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6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1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0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6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4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C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C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53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3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6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4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4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5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C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C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5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4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7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8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1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5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C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5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C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8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3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1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9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7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</a:p>
                  </a:txBody>
                  <a:tcPr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%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4</a:t>
                      </a:r>
                    </a:p>
                  </a:txBody>
                  <a:tcPr marT="9525" marB="0" anchor="ctr">
                    <a:lnL>
                      <a:noFill/>
                    </a:lnL>
                    <a:lnR w="190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C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5" name="对象 1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27717930"/>
              </p:ext>
            </p:extLst>
          </p:nvPr>
        </p:nvGraphicFramePr>
        <p:xfrm>
          <a:off x="609601" y="1981200"/>
          <a:ext cx="4457623" cy="13431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" name="Chart" r:id="rId31" imgW="4457623" imgH="1343141" progId="MSGraph.Chart.8">
                  <p:embed followColorScheme="full"/>
                </p:oleObj>
              </mc:Choice>
              <mc:Fallback>
                <p:oleObj name="Chart" r:id="rId31" imgW="4457623" imgH="134314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609601" y="1981200"/>
                        <a:ext cx="4457623" cy="13431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405188" y="3308350"/>
            <a:ext cx="9921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9CF882-6B15-4110-9F66-FECF327BC327}" type="datetime'D''''''e''''''''''r''''''''''m'' De''''''p''''''''t''''''.'">
              <a:rPr lang="en-US" altLang="en-US" sz="1200" b="1"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Derm Dept.</a:t>
            </a:fld>
            <a:endParaRPr lang="en-US" altLang="zh-CN" sz="12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39838" y="3308350"/>
            <a:ext cx="1084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9A2192-0C27-462A-96B1-A5C331994960}" type="datetime'''''''''T''''''a''''''''rget D''ep''t''''''''''.'''''''''">
              <a:rPr lang="en-US" altLang="en-US" sz="1200" b="1"/>
              <a:pPr/>
              <a:t>Target Dept.</a:t>
            </a:fld>
            <a:endParaRPr lang="en-US" altLang="zh-CN" sz="12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592263" y="2295525"/>
            <a:ext cx="3778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29D669-1BCE-43F6-BB93-C50F241A23F5}" type="datetime'''4''''''''''''''''''''''''''3''''''''''''%'''''''''''''''''">
              <a:rPr lang="en-US" altLang="en-US" sz="1000" b="1">
                <a:solidFill>
                  <a:schemeClr val="bg1"/>
                </a:solidFill>
              </a:rPr>
              <a:pPr/>
              <a:t>43%</a:t>
            </a:fld>
            <a:endParaRPr lang="en-US" altLang="zh-CN" sz="100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711575" y="2843213"/>
            <a:ext cx="3778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7585E0-FE84-4130-9770-96753ACDA457}" type="datetime'''''''''''''''''''''''5''5''''''''''''''''''''''''''''%'''''">
              <a:rPr lang="en-US" altLang="en-US" sz="1000" b="1"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%</a:t>
            </a:fld>
            <a:endParaRPr lang="en-US" altLang="zh-CN" sz="10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711575" y="2309813"/>
            <a:ext cx="3778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BEA270-D3FA-42D1-807A-C976BB4BF415}" type="datetime'''''''4''''3''''''''''''''''''''''''''''''''''%'">
              <a:rPr lang="en-US" altLang="en-US" sz="1000" b="1">
                <a:solidFill>
                  <a:schemeClr val="bg1"/>
                </a:solidFill>
              </a:rPr>
              <a:pPr/>
              <a:t>43%</a:t>
            </a:fld>
            <a:endParaRPr lang="en-US" altLang="zh-CN" sz="100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38300" y="2047875"/>
            <a:ext cx="287338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FB674-9A37-4B97-BCB9-67DFB9B07D37}" type="datetime'''2''''''%'''''''''''''''''''''''''''''''''''''''">
              <a:rPr lang="en-US" altLang="en-US" sz="1000" b="1">
                <a:solidFill>
                  <a:schemeClr val="bg1"/>
                </a:solidFill>
              </a:rPr>
              <a:pPr/>
              <a:t>2%</a:t>
            </a:fld>
            <a:endParaRPr lang="en-US" altLang="zh-CN" sz="100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757613" y="2066925"/>
            <a:ext cx="287338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CA1083-3D3E-49FE-A2AF-0D8808EBF02E}" type="datetime'''''''''''''''''''2''''''''''''''''''''''''''''%'''''''''''''">
              <a:rPr lang="en-US" altLang="en-US" sz="1000" b="1">
                <a:solidFill>
                  <a:schemeClr val="bg1"/>
                </a:solidFill>
              </a:rPr>
              <a:pPr/>
              <a:t>2%</a:t>
            </a:fld>
            <a:endParaRPr lang="en-US" altLang="zh-CN" sz="100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592263" y="2838450"/>
            <a:ext cx="3778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EECE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C9A862-0971-4D20-AAB2-D5497ABB661B}" type="datetime'''''''''''''''5''''6''''''''%'''''''''''''''''''''''''''">
              <a:rPr lang="en-US" altLang="en-US" sz="1000" b="1"/>
              <a:pPr/>
              <a:t>56%</a:t>
            </a:fld>
            <a:endParaRPr lang="en-US" altLang="zh-CN" sz="10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16063" y="1865313"/>
            <a:ext cx="531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95AE77-30DF-40D2-92EE-472F66E3FC73}" type="datetime'1'''''''''''''''''',''''''''7''''''''0''9'''''''">
              <a:rPr lang="en-US" altLang="en-US" sz="1200" b="1"/>
              <a:pPr/>
              <a:t>1,709</a:t>
            </a:fld>
            <a:endParaRPr lang="en-US" altLang="zh-CN" sz="12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635375" y="1884363"/>
            <a:ext cx="531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2DA614-7BC9-486C-8C63-92A274B8A9B0}" type="datetime'''1'''''''',6''''7''''''''''''''''''7'''">
              <a:rPr lang="en-US" altLang="en-US" sz="1200" b="1"/>
              <a:pPr/>
              <a:t>1,677</a:t>
            </a:fld>
            <a:endParaRPr lang="en-US" altLang="zh-CN" sz="12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7" name="矩形 66"/>
          <p:cNvSpPr/>
          <p:nvPr>
            <p:custDataLst>
              <p:tags r:id="rId15"/>
            </p:custDataLst>
          </p:nvPr>
        </p:nvSpPr>
        <p:spPr bwMode="auto">
          <a:xfrm>
            <a:off x="4673600" y="2309813"/>
            <a:ext cx="214313" cy="160338"/>
          </a:xfrm>
          <a:prstGeom prst="rect">
            <a:avLst/>
          </a:prstGeom>
          <a:solidFill>
            <a:srgbClr val="EEECE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矩形 65"/>
          <p:cNvSpPr/>
          <p:nvPr>
            <p:custDataLst>
              <p:tags r:id="rId16"/>
            </p:custDataLst>
          </p:nvPr>
        </p:nvSpPr>
        <p:spPr bwMode="auto">
          <a:xfrm>
            <a:off x="4673600" y="2076450"/>
            <a:ext cx="214313" cy="1603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矩形 64"/>
          <p:cNvSpPr/>
          <p:nvPr>
            <p:custDataLst>
              <p:tags r:id="rId17"/>
            </p:custDataLst>
          </p:nvPr>
        </p:nvSpPr>
        <p:spPr bwMode="auto">
          <a:xfrm>
            <a:off x="4673600" y="1843088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938713" y="2071688"/>
            <a:ext cx="2714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22C1C2-21DE-4954-8B49-7EB4DEF9A396}" type="datetime'''''''''''''2''''''''''''''''''''.''''0'''''">
              <a:rPr lang="en-US" altLang="en-US" sz="1200" b="1"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2.0</a:t>
            </a:fld>
            <a:endParaRPr lang="en-US" altLang="zh-CN" sz="12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938713" y="1838325"/>
            <a:ext cx="2714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C9FF6B-DF45-4E7A-A310-FF1CF960989D}" type="datetime'''''''''''3''''''''''''''''.''''''''''''''''''0'''''''''''''">
              <a:rPr lang="en-US" altLang="en-US" sz="1200" b="1"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3.0</a:t>
            </a:fld>
            <a:endParaRPr lang="en-US" altLang="zh-CN" sz="12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938713" y="2305050"/>
            <a:ext cx="2714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667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61D203-C737-4E80-92D8-A45E4AB96EF0}" type="datetime'1.''''''''''0'''''''''''''''''">
              <a:rPr lang="en-US" altLang="en-US" sz="1200" b="1">
                <a:latin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/>
              <a:t>1.0</a:t>
            </a:fld>
            <a:endParaRPr lang="en-US" altLang="zh-CN" sz="1200" b="1" dirty="0">
              <a:latin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619125" y="3653583"/>
            <a:ext cx="4753477" cy="2348753"/>
            <a:chOff x="695324" y="1214368"/>
            <a:chExt cx="11149606" cy="5174919"/>
          </a:xfrm>
        </p:grpSpPr>
        <p:sp>
          <p:nvSpPr>
            <p:cNvPr id="69" name="Rectangle 7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95325" y="1214438"/>
              <a:ext cx="11149605" cy="5174849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 algn="ctr">
              <a:solidFill>
                <a:srgbClr val="1E4C8B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1216650">
                <a:defRPr/>
              </a:pPr>
              <a:endParaRPr lang="en-US" sz="1200" kern="0" dirty="0">
                <a:solidFill>
                  <a:srgbClr val="505050"/>
                </a:solidFill>
              </a:endParaRPr>
            </a:p>
          </p:txBody>
        </p:sp>
        <p:sp>
          <p:nvSpPr>
            <p:cNvPr id="70" name="Rectangle 116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95324" y="1214368"/>
              <a:ext cx="11149606" cy="1047515"/>
            </a:xfrm>
            <a:prstGeom prst="rect">
              <a:avLst/>
            </a:prstGeom>
            <a:solidFill>
              <a:srgbClr val="1E4C8B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180000" defTabSz="1216650"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hysician Perception Progress in Top 100 HP</a:t>
              </a:r>
            </a:p>
            <a:p>
              <a:pPr marL="180000" defTabSz="1216650"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# of change, ratio and target, </a:t>
              </a:r>
              <a:r>
                <a:rPr lang="en-US" sz="1200" b="1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an. </a:t>
              </a:r>
              <a:r>
                <a:rPr lang="en-US" sz="1200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017~May. 2017)</a:t>
              </a:r>
            </a:p>
          </p:txBody>
        </p:sp>
      </p:grpSp>
      <p:graphicFrame>
        <p:nvGraphicFramePr>
          <p:cNvPr id="88" name="图表 87"/>
          <p:cNvGraphicFramePr/>
          <p:nvPr>
            <p:extLst>
              <p:ext uri="{D42A27DB-BD31-4B8C-83A1-F6EECF244321}">
                <p14:modId xmlns:p14="http://schemas.microsoft.com/office/powerpoint/2010/main" val="402395973"/>
              </p:ext>
            </p:extLst>
          </p:nvPr>
        </p:nvGraphicFramePr>
        <p:xfrm>
          <a:off x="710004" y="4212233"/>
          <a:ext cx="4561243" cy="1693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graphicFrame>
        <p:nvGraphicFramePr>
          <p:cNvPr id="93" name="表格 9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3672428"/>
              </p:ext>
            </p:extLst>
          </p:nvPr>
        </p:nvGraphicFramePr>
        <p:xfrm>
          <a:off x="6269542" y="2311406"/>
          <a:ext cx="5225230" cy="412380"/>
        </p:xfrm>
        <a:graphic>
          <a:graphicData uri="http://schemas.openxmlformats.org/drawingml/2006/table">
            <a:tbl>
              <a:tblPr/>
              <a:tblGrid>
                <a:gridCol w="950851">
                  <a:extLst>
                    <a:ext uri="{9D8B030D-6E8A-4147-A177-3AD203B41FA5}">
                      <a16:colId xmlns:a16="http://schemas.microsoft.com/office/drawing/2014/main" val="674197583"/>
                    </a:ext>
                  </a:extLst>
                </a:gridCol>
                <a:gridCol w="783657">
                  <a:extLst>
                    <a:ext uri="{9D8B030D-6E8A-4147-A177-3AD203B41FA5}">
                      <a16:colId xmlns:a16="http://schemas.microsoft.com/office/drawing/2014/main" val="721115733"/>
                    </a:ext>
                  </a:extLst>
                </a:gridCol>
                <a:gridCol w="581787">
                  <a:extLst>
                    <a:ext uri="{9D8B030D-6E8A-4147-A177-3AD203B41FA5}">
                      <a16:colId xmlns:a16="http://schemas.microsoft.com/office/drawing/2014/main" val="1676603593"/>
                    </a:ext>
                  </a:extLst>
                </a:gridCol>
                <a:gridCol w="581787">
                  <a:extLst>
                    <a:ext uri="{9D8B030D-6E8A-4147-A177-3AD203B41FA5}">
                      <a16:colId xmlns:a16="http://schemas.microsoft.com/office/drawing/2014/main" val="3019546824"/>
                    </a:ext>
                  </a:extLst>
                </a:gridCol>
                <a:gridCol w="581787">
                  <a:extLst>
                    <a:ext uri="{9D8B030D-6E8A-4147-A177-3AD203B41FA5}">
                      <a16:colId xmlns:a16="http://schemas.microsoft.com/office/drawing/2014/main" val="1569893228"/>
                    </a:ext>
                  </a:extLst>
                </a:gridCol>
                <a:gridCol w="581787">
                  <a:extLst>
                    <a:ext uri="{9D8B030D-6E8A-4147-A177-3AD203B41FA5}">
                      <a16:colId xmlns:a16="http://schemas.microsoft.com/office/drawing/2014/main" val="2512369489"/>
                    </a:ext>
                  </a:extLst>
                </a:gridCol>
                <a:gridCol w="581787">
                  <a:extLst>
                    <a:ext uri="{9D8B030D-6E8A-4147-A177-3AD203B41FA5}">
                      <a16:colId xmlns:a16="http://schemas.microsoft.com/office/drawing/2014/main" val="2850813527"/>
                    </a:ext>
                  </a:extLst>
                </a:gridCol>
                <a:gridCol w="581787">
                  <a:extLst>
                    <a:ext uri="{9D8B030D-6E8A-4147-A177-3AD203B41FA5}">
                      <a16:colId xmlns:a16="http://schemas.microsoft.com/office/drawing/2014/main" val="2000706081"/>
                    </a:ext>
                  </a:extLst>
                </a:gridCol>
              </a:tblGrid>
              <a:tr h="412380"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77</a:t>
                      </a:r>
                    </a:p>
                  </a:txBody>
                  <a:tcPr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26</a:t>
                      </a:r>
                    </a:p>
                  </a:txBody>
                  <a:tcPr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5%</a:t>
                      </a:r>
                    </a:p>
                  </a:txBody>
                  <a:tcPr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21</a:t>
                      </a:r>
                    </a:p>
                  </a:txBody>
                  <a:tcPr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3%</a:t>
                      </a:r>
                    </a:p>
                  </a:txBody>
                  <a:tcPr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</a:p>
                  </a:txBody>
                  <a:tcPr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8E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accent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%</a:t>
                      </a:r>
                    </a:p>
                  </a:txBody>
                  <a:tcPr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5</a:t>
                      </a:r>
                    </a:p>
                  </a:txBody>
                  <a:tcPr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C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821998"/>
                  </a:ext>
                </a:extLst>
              </a:tr>
            </a:tbl>
          </a:graphicData>
        </a:graphic>
      </p:graphicFrame>
      <p:sp>
        <p:nvSpPr>
          <p:cNvPr id="95" name="矩形 94"/>
          <p:cNvSpPr/>
          <p:nvPr/>
        </p:nvSpPr>
        <p:spPr>
          <a:xfrm>
            <a:off x="5811083" y="5605772"/>
            <a:ext cx="462579" cy="215153"/>
          </a:xfrm>
          <a:prstGeom prst="rect">
            <a:avLst/>
          </a:prstGeom>
          <a:solidFill>
            <a:srgbClr val="2A8E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框 95"/>
          <p:cNvSpPr txBox="1"/>
          <p:nvPr/>
        </p:nvSpPr>
        <p:spPr>
          <a:xfrm>
            <a:off x="6314325" y="5574848"/>
            <a:ext cx="13016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 of Physician</a:t>
            </a:r>
            <a:endParaRPr lang="zh-CN" altLang="en-US" sz="10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7634470" y="5578684"/>
            <a:ext cx="462579" cy="215153"/>
          </a:xfrm>
          <a:prstGeom prst="rect">
            <a:avLst/>
          </a:prstGeom>
          <a:solidFill>
            <a:srgbClr val="EEEC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" name="文本框 97"/>
          <p:cNvSpPr txBox="1"/>
          <p:nvPr/>
        </p:nvSpPr>
        <p:spPr>
          <a:xfrm>
            <a:off x="8115518" y="5574848"/>
            <a:ext cx="13016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rtion</a:t>
            </a:r>
            <a:endParaRPr lang="zh-CN" altLang="en-US" sz="10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9302333" y="5590381"/>
            <a:ext cx="462579" cy="215153"/>
          </a:xfrm>
          <a:prstGeom prst="rect">
            <a:avLst/>
          </a:prstGeom>
          <a:solidFill>
            <a:srgbClr val="2A8E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0" name="文本框 99"/>
          <p:cNvSpPr txBox="1"/>
          <p:nvPr/>
        </p:nvSpPr>
        <p:spPr>
          <a:xfrm>
            <a:off x="9764913" y="5573394"/>
            <a:ext cx="1852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erage Perception Level</a:t>
            </a:r>
            <a:endParaRPr lang="zh-CN" altLang="en-US" sz="100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Equal 8"/>
          <p:cNvSpPr/>
          <p:nvPr/>
        </p:nvSpPr>
        <p:spPr>
          <a:xfrm rot="10800000">
            <a:off x="11647104" y="4238521"/>
            <a:ext cx="196862" cy="228238"/>
          </a:xfrm>
          <a:prstGeom prst="mathEqual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55" name="Equal 8"/>
          <p:cNvSpPr/>
          <p:nvPr/>
        </p:nvSpPr>
        <p:spPr>
          <a:xfrm rot="10800000">
            <a:off x="11631531" y="2411471"/>
            <a:ext cx="196862" cy="228238"/>
          </a:xfrm>
          <a:prstGeom prst="mathEqual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组合 4"/>
          <p:cNvGrpSpPr/>
          <p:nvPr/>
        </p:nvGrpSpPr>
        <p:grpSpPr>
          <a:xfrm>
            <a:off x="11509117" y="3355377"/>
            <a:ext cx="417491" cy="333849"/>
            <a:chOff x="11509117" y="3355377"/>
            <a:chExt cx="417491" cy="333849"/>
          </a:xfrm>
        </p:grpSpPr>
        <p:sp>
          <p:nvSpPr>
            <p:cNvPr id="3" name="箭头: 下 2"/>
            <p:cNvSpPr/>
            <p:nvPr/>
          </p:nvSpPr>
          <p:spPr>
            <a:xfrm>
              <a:off x="11628575" y="3526556"/>
              <a:ext cx="196862" cy="162670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矩形 3"/>
            <p:cNvSpPr/>
            <p:nvPr/>
          </p:nvSpPr>
          <p:spPr>
            <a:xfrm>
              <a:off x="11509117" y="3355377"/>
              <a:ext cx="41749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b"/>
              <a:r>
                <a:rPr lang="en-US" altLang="zh-CN" sz="8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-0.1</a:t>
              </a:r>
            </a:p>
          </p:txBody>
        </p:sp>
      </p:grpSp>
      <p:sp>
        <p:nvSpPr>
          <p:cNvPr id="59" name="箭头: 下 58"/>
          <p:cNvSpPr/>
          <p:nvPr/>
        </p:nvSpPr>
        <p:spPr>
          <a:xfrm rot="10800000">
            <a:off x="11628575" y="3944105"/>
            <a:ext cx="196862" cy="162670"/>
          </a:xfrm>
          <a:prstGeom prst="down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1" name="矩形 70"/>
          <p:cNvSpPr/>
          <p:nvPr/>
        </p:nvSpPr>
        <p:spPr>
          <a:xfrm>
            <a:off x="11449052" y="3772926"/>
            <a:ext cx="52317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"/>
            <a:r>
              <a:rPr lang="en-US" altLang="zh-CN" sz="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0.1</a:t>
            </a:r>
          </a:p>
        </p:txBody>
      </p:sp>
      <p:grpSp>
        <p:nvGrpSpPr>
          <p:cNvPr id="74" name="组合 73"/>
          <p:cNvGrpSpPr/>
          <p:nvPr/>
        </p:nvGrpSpPr>
        <p:grpSpPr>
          <a:xfrm>
            <a:off x="11524608" y="4532259"/>
            <a:ext cx="417491" cy="333849"/>
            <a:chOff x="11509117" y="3355377"/>
            <a:chExt cx="417491" cy="333849"/>
          </a:xfrm>
        </p:grpSpPr>
        <p:sp>
          <p:nvSpPr>
            <p:cNvPr id="75" name="箭头: 下 74"/>
            <p:cNvSpPr/>
            <p:nvPr/>
          </p:nvSpPr>
          <p:spPr>
            <a:xfrm>
              <a:off x="11628575" y="3526556"/>
              <a:ext cx="196862" cy="162670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6" name="矩形 75"/>
            <p:cNvSpPr/>
            <p:nvPr/>
          </p:nvSpPr>
          <p:spPr>
            <a:xfrm>
              <a:off x="11509117" y="3355377"/>
              <a:ext cx="41749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b"/>
              <a:r>
                <a:rPr lang="en-US" altLang="zh-CN" sz="8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-0.1</a:t>
              </a: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11533751" y="4988920"/>
            <a:ext cx="417491" cy="333849"/>
            <a:chOff x="11509117" y="3355377"/>
            <a:chExt cx="417491" cy="333849"/>
          </a:xfrm>
        </p:grpSpPr>
        <p:sp>
          <p:nvSpPr>
            <p:cNvPr id="78" name="箭头: 下 77"/>
            <p:cNvSpPr/>
            <p:nvPr/>
          </p:nvSpPr>
          <p:spPr>
            <a:xfrm>
              <a:off x="11628575" y="3526556"/>
              <a:ext cx="196862" cy="162670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79" name="矩形 78"/>
            <p:cNvSpPr/>
            <p:nvPr/>
          </p:nvSpPr>
          <p:spPr>
            <a:xfrm>
              <a:off x="11509117" y="3355377"/>
              <a:ext cx="41749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fontAlgn="b"/>
              <a:r>
                <a:rPr lang="en-US" altLang="zh-CN" sz="8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-0.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8051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EE&quot; g=&quot;EC&quot; b=&quot;E1&quot;/&gt;&lt;m_nBrightness val=&quot;0&quot;/&gt;&lt;/elem&gt;&lt;elem m_fUsage=&quot;9.00000000000000022204E-01&quot;&gt;&lt;m_msothmcolidx val=&quot;0&quot;/&gt;&lt;m_rgb r=&quot;CB&quot; g=&quot;E2&quot; b=&quot;F5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kjnOegTyiLJ9H2UcCnT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Ym0ZjIQImS6ZJTeYjF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P3C.g5QgGAJgY0dlzNN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22dtnYSja9PTNcsGCzS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T20BW.TN64I.3uQmVRH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RKbQzRSX2zVAzacDGAz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lUpuKGQnWcXBFtAVq_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TQGpAySX.8lZsEWV.kI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X9q1vmR.KgZNXfgaf4M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wppshXTOm0ZZjQ51NOe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jE9rOsR.Ck1WLyw0R2h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yO8EWbTWSsflm_ToGp7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4KELskQUeAYco2G_5mo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dn.32HRLGfHXkh3YO5b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eCXzFDTVOaoMQmWK0TV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QsZLy6RTiYXe12hJgZn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UiWGyqRzaCYr3A.ZTvw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0HqqDRGy_UI1YFXN4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jUMV5PTs6kdUXni14Ak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daHbxGQMWZIoq5ezYH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NLgUn5RION_YPK8r1R9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sNcIcSTkCJQp5U0F7j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6G9AlqT6ypet143w5hP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mS6F.OQOenHSKACCRx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nKVxn9SvuUwicLvXW5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mLHj1WTAyMXOMfECR0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GxPf5dSYWB4yNoX1IZ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7fvkMTTP2mICs7_BIc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JLgXfpQcCfv__SoMa5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tRa4_YSq6mCJ.dc03N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v27YV7QRWyvWvxoaCc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8EJZuGT_Gso5NIO26h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GntMIWSOWOXrwjTABM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Y0_CaYQBGECLRa7pWV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R_ArYTpqMTiKFe3s3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TiDs1QneJZnwD.Hal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MN8WIQlaWpfpQeKs9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CYA5meR92OoTtADArD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cQbwhgS0iU5M7yBsuL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XX25pZSyeCWenAdNGe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vZxQk5RAGJdDe40.78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4B2vlSdGEXl_f_qPR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Kg8OERKa9Ctb48st0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54Iv2Q4ma8WLLBmr_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AqQGv7TFa5j5SrK8TO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0Ypw72RIOtvQsRPyId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u5RnKdQ_ewPESJpWf5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ahfBI6Si.drnS8jkhd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LMpNoVQ_OciqdiqVKj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UGxsRnTJqSe0ypEoqF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YzgWUNRr.JxRRzKiSP8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nfDeN7Rb.ySSeNUlD4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m5QF.ORhmhfuWNncq39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wvheQaRPiXzXhH4O4Z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ajJgLWS7aZC2eBVbU5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AaxTenSq2L5NHRDINx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G52qL0SEObvPiNSTnm6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GnV6vxSMeYnyqbDL0d2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GtnTSoTL2tmpWdfp_P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Hm3IlkQqqVmhEPcDBV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kUA0qaRVeWE85BnoF6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RjOXzTImyTpYmloTR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n6e16LQwiXYulCY11B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cZ.Dz.SPG9pEBXBHyT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Yq1AQISKev9zsgbS6G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5CV_XvQe.AlCRu86Hb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hZFvUtQZq1HaU173uF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Kux4XqQA2yarxxMe6la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66VddQpa8iAWwnLB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4AvQkQQ5ukTA4Be1z.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9XTuDwSVORQJ8zv2Zq0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DR6SuKTWu8oq_1uCaC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Q3jqOKTfycdqJ1uPjk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nQIQ.hRvqKaKO43UP4j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JCPf1eT0yBeUZqdAKex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HXuAM2QUupJjfngjdJ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ZjzGutSgCa1VfL_psM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4aDplxQuOg1yLe2jR2o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5Kgzo2SNKadVHw.BTy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AerZ48TYSRNcYGaOl6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9ptIqKQ7eRokWUEuI5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Wic8giRz6VYZnRSywCL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e1ddyQR9.DqGnyiM1cH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YuIpI9TD.v1gNrZ7AH5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S960InSd.2hHvueDyb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DPyV2zS6ejtRcHtO.X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x06slpQhKzXITsZmrQt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XVgx5YTPyl1fB97yRF2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0TMf7hRCiFeeVJP.i3M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0Z0o4hTQS2Hj5xFh0F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48uZLxRnuUJCUa3vyHj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lKVKHWQ6eJINETi9Q1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h6gNoeT_qTPdNlVxurs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D.NvjGS2.Zu.Y0PTi2X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5t9zvbRkSmcgO5gC.1F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jobw2TS3GRDmWNC7HHA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vRzDkkRKGIugvEnvNRH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7QC.9iSiaZgvemRHVq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C_fyDQRmmwjvYadgyc1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yBc7WtQy2pgE80ZCA4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vOvY7CQQC687R210Fzt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TJb1JKRkSR_VMWyU3n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4.NfzQN2jOcQVvdBOG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qonhkaTz2ItLGI.gRa4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8Pmv9SST6ZOhxb7tA8y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._xtZyTQKRq0EGiQKnR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phBLV_TH.9nDYoSVnQ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5yfecpSKiYUsOH2TtT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Jr2J7YQCe5n3XCQVaoR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opuet.Rlq2r3Xx11NyCw"/>
</p:tagLst>
</file>

<file path=ppt/theme/theme1.xml><?xml version="1.0" encoding="utf-8"?>
<a:theme xmlns:a="http://schemas.openxmlformats.org/drawingml/2006/main" name="2_Content slide – cool palette">
  <a:themeElements>
    <a:clrScheme name="Janssen Color Palette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09357A"/>
      </a:accent1>
      <a:accent2>
        <a:srgbClr val="2A8EBF"/>
      </a:accent2>
      <a:accent3>
        <a:srgbClr val="BFBFBF"/>
      </a:accent3>
      <a:accent4>
        <a:srgbClr val="237D26"/>
      </a:accent4>
      <a:accent5>
        <a:srgbClr val="7FC31C"/>
      </a:accent5>
      <a:accent6>
        <a:srgbClr val="BFE18D"/>
      </a:accent6>
      <a:hlink>
        <a:srgbClr val="2A8EBF"/>
      </a:hlink>
      <a:folHlink>
        <a:srgbClr val="94C6D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7_Content slide – cool palette">
  <a:themeElements>
    <a:clrScheme name="Janssen Color Palette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09357A"/>
      </a:accent1>
      <a:accent2>
        <a:srgbClr val="2A8EBF"/>
      </a:accent2>
      <a:accent3>
        <a:srgbClr val="BFBFBF"/>
      </a:accent3>
      <a:accent4>
        <a:srgbClr val="237D26"/>
      </a:accent4>
      <a:accent5>
        <a:srgbClr val="7FC31C"/>
      </a:accent5>
      <a:accent6>
        <a:srgbClr val="BFE18D"/>
      </a:accent6>
      <a:hlink>
        <a:srgbClr val="2A8EBF"/>
      </a:hlink>
      <a:folHlink>
        <a:srgbClr val="94C6D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65</TotalTime>
  <Words>303</Words>
  <Application>Microsoft Office PowerPoint</Application>
  <PresentationFormat>宽屏</PresentationFormat>
  <Paragraphs>168</Paragraphs>
  <Slides>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</vt:i4>
      </vt:variant>
    </vt:vector>
  </HeadingPairs>
  <TitlesOfParts>
    <vt:vector size="13" baseType="lpstr">
      <vt:lpstr>宋体</vt:lpstr>
      <vt:lpstr>微软雅黑</vt:lpstr>
      <vt:lpstr>Arial</vt:lpstr>
      <vt:lpstr>Calibri</vt:lpstr>
      <vt:lpstr>Verdana</vt:lpstr>
      <vt:lpstr>Wingdings</vt:lpstr>
      <vt:lpstr>2_Content slide – cool palette</vt:lpstr>
      <vt:lpstr>27_Content slide – cool palette</vt:lpstr>
      <vt:lpstr>think-cell Slide</vt:lpstr>
      <vt:lpstr>Chart</vt:lpstr>
      <vt:lpstr>Microsoft Graph 图表</vt:lpstr>
      <vt:lpstr>Slightly uptake in May regarding sell-out and DC was missed target in April. Need to improve customer coverage for enhance SOV</vt:lpstr>
      <vt:lpstr>The physician perception didn’t change in May for both top hospitals and all target hospital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60 Degree Business Performance</dc:title>
  <dc:creator>Han, Fuhui [JANCNBJ]</dc:creator>
  <cp:lastModifiedBy>Zhang, Lei (Francis) [JANCN]</cp:lastModifiedBy>
  <cp:revision>125</cp:revision>
  <dcterms:created xsi:type="dcterms:W3CDTF">2017-04-13T06:08:12Z</dcterms:created>
  <dcterms:modified xsi:type="dcterms:W3CDTF">2017-06-12T07:19:53Z</dcterms:modified>
</cp:coreProperties>
</file>